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147479402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2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4FAA41-8B62-4A60-90F2-68A9CEA5B6BC}" v="64" dt="2024-06-13T08:05:11.0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viewProps.xml" Id="rId8" /><Relationship Type="http://schemas.openxmlformats.org/officeDocument/2006/relationships/customXml" Target="../customXml/item3.xml" Id="rId3" /><Relationship Type="http://schemas.openxmlformats.org/officeDocument/2006/relationships/presProps" Target="presProps.xml" Id="rId7" /><Relationship Type="http://schemas.microsoft.com/office/2015/10/relationships/revisionInfo" Target="revisionInfo.xml" Id="rId12" /><Relationship Type="http://schemas.openxmlformats.org/officeDocument/2006/relationships/customXml" Target="../customXml/item2.xml" Id="rId2" /><Relationship Type="http://schemas.openxmlformats.org/officeDocument/2006/relationships/customXml" Target="../customXml/item1.xml" Id="rId1" /><Relationship Type="http://schemas.openxmlformats.org/officeDocument/2006/relationships/notesMaster" Target="notesMasters/notesMaster1.xml" Id="rId6" /><Relationship Type="http://schemas.openxmlformats.org/officeDocument/2006/relationships/slide" Target="slides/slide1.xml" Id="rId5" /><Relationship Type="http://schemas.openxmlformats.org/officeDocument/2006/relationships/tableStyles" Target="tableStyles.xml" Id="rId10" /><Relationship Type="http://schemas.openxmlformats.org/officeDocument/2006/relationships/slideMaster" Target="slideMasters/slideMaster1.xml" Id="rId4" /><Relationship Type="http://schemas.openxmlformats.org/officeDocument/2006/relationships/theme" Target="theme/theme1.xml" Id="rId9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2A587A-FAD6-49E3-AD4E-B93150B2C0A6}" type="datetimeFigureOut">
              <a:rPr lang="en-GB" smtClean="0"/>
              <a:t>13/06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AF06BC-4F04-499C-9D9A-0B130B77EB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97413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2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5.png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9.pn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18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1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19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3.png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2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image" Target="../media/image28.jpeg"/><Relationship Id="rId7" Type="http://schemas.openxmlformats.org/officeDocument/2006/relationships/image" Target="../media/image32.emf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29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7" Type="http://schemas.openxmlformats.org/officeDocument/2006/relationships/image" Target="../media/image33.emf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2.emf"/><Relationship Id="rId5" Type="http://schemas.openxmlformats.org/officeDocument/2006/relationships/image" Target="../media/image31.emf"/><Relationship Id="rId4" Type="http://schemas.openxmlformats.org/officeDocument/2006/relationships/image" Target="../media/image30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8.emf"/><Relationship Id="rId5" Type="http://schemas.openxmlformats.org/officeDocument/2006/relationships/image" Target="../media/image37.png"/><Relationship Id="rId4" Type="http://schemas.openxmlformats.org/officeDocument/2006/relationships/image" Target="../media/image36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8.emf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8.emf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1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4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45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7.emf"/><Relationship Id="rId4" Type="http://schemas.openxmlformats.org/officeDocument/2006/relationships/image" Target="../media/image2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emf"/><Relationship Id="rId4" Type="http://schemas.openxmlformats.org/officeDocument/2006/relationships/image" Target="../media/image5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emf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emf"/><Relationship Id="rId4" Type="http://schemas.openxmlformats.org/officeDocument/2006/relationships/image" Target="../media/image5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emf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emf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emf"/><Relationship Id="rId4" Type="http://schemas.openxmlformats.org/officeDocument/2006/relationships/image" Target="../media/image5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58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9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3.emf"/><Relationship Id="rId4" Type="http://schemas.openxmlformats.org/officeDocument/2006/relationships/image" Target="../media/image6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3.emf"/><Relationship Id="rId4" Type="http://schemas.openxmlformats.org/officeDocument/2006/relationships/image" Target="../media/image6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3.emf"/><Relationship Id="rId4" Type="http://schemas.openxmlformats.org/officeDocument/2006/relationships/image" Target="../media/image62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3.emf"/><Relationship Id="rId4" Type="http://schemas.openxmlformats.org/officeDocument/2006/relationships/image" Target="../media/image62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9.emf"/><Relationship Id="rId4" Type="http://schemas.openxmlformats.org/officeDocument/2006/relationships/image" Target="../media/image6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9.emf"/><Relationship Id="rId4" Type="http://schemas.openxmlformats.org/officeDocument/2006/relationships/image" Target="../media/image5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9.emf"/><Relationship Id="rId4" Type="http://schemas.openxmlformats.org/officeDocument/2006/relationships/image" Target="../media/image71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3.png"/><Relationship Id="rId4" Type="http://schemas.openxmlformats.org/officeDocument/2006/relationships/image" Target="../media/image5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6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9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1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3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7" Type="http://schemas.openxmlformats.org/officeDocument/2006/relationships/image" Target="../media/image104.png"/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98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7" Type="http://schemas.openxmlformats.org/officeDocument/2006/relationships/image" Target="../media/image104.png"/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98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3F5E5F8-0EF9-E5EC-BE75-B2510A193E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0"/>
            <a:ext cx="12211504" cy="685522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D85679-A3AB-2643-A1FE-1CC2B0278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29438" y="2000409"/>
            <a:ext cx="7533124" cy="2857182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his ppt template is meant to be used for sustainability specific presentations. It should not be used as a default template for general business use, for example if only a portion of the presentation is sustainability related. It will mostly be used internally, however there are instances where it would be applicable for external such as a customer meeting that is focused on sustainability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9AA76A-63B0-043E-9580-A15A6FEFC1A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E964DB-0B7D-6EBB-6725-1A820FD1364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04CCFC-D2B6-AED8-CDA0-B163BD4463C5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FBCCFC-0390-34AE-3F80-B46BBA62BC2A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168E1A-69DF-F63E-2AE8-B60DB7234A4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975E2E-3984-0B40-73A8-B7CC4A2B19B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6261FB-107B-F06A-B395-518E576232F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B54340-675F-F707-4E34-A216647E173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3F967-EC41-F0EA-462E-6FA837216E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CDF6FE-CD83-9225-B5BE-6792B764FB1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3639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24" name="Picture 2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71266C21-5BF7-2A5A-876B-1AB3E25C04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9" y="1"/>
            <a:ext cx="12192000" cy="6858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5803177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5803177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0BDD9D65-34C0-CFC2-D168-9DEAFA8A8C6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03899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81768CF-52B8-0347-A647-678EC4374F90}"/>
              </a:ext>
            </a:extLst>
          </p:cNvPr>
          <p:cNvSpPr/>
          <p:nvPr userDrawn="1"/>
        </p:nvSpPr>
        <p:spPr>
          <a:xfrm>
            <a:off x="-1" y="0"/>
            <a:ext cx="777818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picture containing icon&#10;&#10;Description automatically generated">
            <a:extLst>
              <a:ext uri="{FF2B5EF4-FFF2-40B4-BE49-F238E27FC236}">
                <a16:creationId xmlns:a16="http://schemas.microsoft.com/office/drawing/2014/main" id="{E6345E48-0069-2340-A0DB-46B963B56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 descr="A person holding a leaf&#10;&#10;Description automatically generated with medium confidence">
            <a:extLst>
              <a:ext uri="{FF2B5EF4-FFF2-40B4-BE49-F238E27FC236}">
                <a16:creationId xmlns:a16="http://schemas.microsoft.com/office/drawing/2014/main" id="{9569BDD0-66A7-B54F-AA5C-F10DB19B69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3860" y="0"/>
            <a:ext cx="962814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101721D2-6A6B-D341-A9EA-9D83D33F423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DED8AF-4B76-6346-972A-94C9E64D86C9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F98A23-FCE6-1242-9D18-98F5FA0F1F9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EDF4BE4-3445-8947-A92B-191B5D8E27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486" y="645959"/>
            <a:ext cx="5737310" cy="2783042"/>
          </a:xfrm>
        </p:spPr>
        <p:txBody>
          <a:bodyPr>
            <a:noAutofit/>
          </a:bodyPr>
          <a:lstStyle>
            <a:lvl1pPr marL="231775" indent="-231775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3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58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430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02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68726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ttern with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id="{4C688138-929B-0943-BB4C-334EA3EB0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2" y="0"/>
            <a:ext cx="11743418" cy="660567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5D5DD2-2E19-CA4B-AA8E-4199EABE98B3}"/>
              </a:ext>
            </a:extLst>
          </p:cNvPr>
          <p:cNvSpPr/>
          <p:nvPr userDrawn="1"/>
        </p:nvSpPr>
        <p:spPr>
          <a:xfrm>
            <a:off x="0" y="0"/>
            <a:ext cx="7792720" cy="66085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49566-D047-2B49-8DE5-DE967A0DAF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674" y="703110"/>
            <a:ext cx="6271672" cy="5307398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tabLst/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499472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81768CF-52B8-0347-A647-678EC4374F90}"/>
              </a:ext>
            </a:extLst>
          </p:cNvPr>
          <p:cNvSpPr/>
          <p:nvPr userDrawn="1"/>
        </p:nvSpPr>
        <p:spPr>
          <a:xfrm>
            <a:off x="-1" y="0"/>
            <a:ext cx="777818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4A9275F3-BBA1-9644-9E35-4C8AD8A7F9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49440"/>
            <a:ext cx="12192000" cy="68580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EDF4BE4-3445-8947-A92B-191B5D8E27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486" y="645959"/>
            <a:ext cx="5737310" cy="2783042"/>
          </a:xfrm>
        </p:spPr>
        <p:txBody>
          <a:bodyPr>
            <a:noAutofit/>
          </a:bodyPr>
          <a:lstStyle>
            <a:lvl1pPr marL="231775" indent="-231775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3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58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430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02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  <a:p>
            <a:pPr lvl="0"/>
            <a:endParaRPr lang="en-US"/>
          </a:p>
        </p:txBody>
      </p:sp>
      <p:pic>
        <p:nvPicPr>
          <p:cNvPr id="14" name="Picture 13" descr="A person holding a leaf&#10;&#10;Description automatically generated with medium confidence">
            <a:extLst>
              <a:ext uri="{FF2B5EF4-FFF2-40B4-BE49-F238E27FC236}">
                <a16:creationId xmlns:a16="http://schemas.microsoft.com/office/drawing/2014/main" id="{9569BDD0-66A7-B54F-AA5C-F10DB19B69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3860" y="0"/>
            <a:ext cx="962814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101721D2-6A6B-D341-A9EA-9D83D33F423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DED8AF-4B76-6346-972A-94C9E64D86C9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F98A23-FCE6-1242-9D18-98F5FA0F1F9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023323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, background pattern&#10;&#10;Description automatically generated">
            <a:extLst>
              <a:ext uri="{FF2B5EF4-FFF2-40B4-BE49-F238E27FC236}">
                <a16:creationId xmlns:a16="http://schemas.microsoft.com/office/drawing/2014/main" id="{34AA1E1D-03FF-AF43-BE4A-5FC80EF1F2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97" t="462" r="12913"/>
          <a:stretch/>
        </p:blipFill>
        <p:spPr>
          <a:xfrm>
            <a:off x="-2" y="-1"/>
            <a:ext cx="12192001" cy="660834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5F84725-21C6-BE45-BE42-A7EA6A32E46E}"/>
              </a:ext>
            </a:extLst>
          </p:cNvPr>
          <p:cNvSpPr/>
          <p:nvPr userDrawn="1"/>
        </p:nvSpPr>
        <p:spPr>
          <a:xfrm>
            <a:off x="914399" y="0"/>
            <a:ext cx="6939065" cy="686978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19" name="Picture 18" descr="A picture containing windmill, outdoor object&#10;&#10;Description automatically generated">
            <a:extLst>
              <a:ext uri="{FF2B5EF4-FFF2-40B4-BE49-F238E27FC236}">
                <a16:creationId xmlns:a16="http://schemas.microsoft.com/office/drawing/2014/main" id="{E18F52E1-FB6D-524D-ACCC-62D345CB1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69261" y="-104379"/>
            <a:ext cx="5827009" cy="6743420"/>
          </a:xfrm>
          <a:prstGeom prst="rect">
            <a:avLst/>
          </a:prstGeom>
        </p:spPr>
      </p:pic>
      <p:pic>
        <p:nvPicPr>
          <p:cNvPr id="20" name="Picture 19" descr="A picture containing windmill, outdoor object&#10;&#10;Description automatically generated">
            <a:extLst>
              <a:ext uri="{FF2B5EF4-FFF2-40B4-BE49-F238E27FC236}">
                <a16:creationId xmlns:a16="http://schemas.microsoft.com/office/drawing/2014/main" id="{B05B56EE-41C9-D94E-A6DB-7A479077EE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1703" y="2973400"/>
            <a:ext cx="3362753" cy="3665640"/>
          </a:xfrm>
          <a:prstGeom prst="rect">
            <a:avLst/>
          </a:prstGeom>
        </p:spPr>
      </p:pic>
      <p:sp>
        <p:nvSpPr>
          <p:cNvPr id="11" name="object 14">
            <a:extLst>
              <a:ext uri="{FF2B5EF4-FFF2-40B4-BE49-F238E27FC236}">
                <a16:creationId xmlns:a16="http://schemas.microsoft.com/office/drawing/2014/main" id="{44FE5C87-C327-A549-9EB2-2C22CF7E23AD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596148-2BF5-C243-9337-6ABF6F8D5A26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845A496-6F89-9C45-87E7-1898BA4848FA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19333D3-2CE5-814A-BAA4-6B115810C5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8868" y="599440"/>
            <a:ext cx="4891620" cy="5411068"/>
          </a:xfrm>
        </p:spPr>
        <p:txBody>
          <a:bodyPr>
            <a:noAutofit/>
          </a:bodyPr>
          <a:lstStyle>
            <a:lvl1pPr marL="406400" indent="-406400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08576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A540508-B502-5146-8F90-5B91F1663EFA}"/>
              </a:ext>
            </a:extLst>
          </p:cNvPr>
          <p:cNvSpPr/>
          <p:nvPr userDrawn="1"/>
        </p:nvSpPr>
        <p:spPr>
          <a:xfrm>
            <a:off x="0" y="-214"/>
            <a:ext cx="5588000" cy="6766773"/>
          </a:xfrm>
          <a:prstGeom prst="rect">
            <a:avLst/>
          </a:prstGeom>
          <a:solidFill>
            <a:srgbClr val="00A7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picture containing text, person, outdoor, male&#10;&#10;Description automatically generated">
            <a:extLst>
              <a:ext uri="{FF2B5EF4-FFF2-40B4-BE49-F238E27FC236}">
                <a16:creationId xmlns:a16="http://schemas.microsoft.com/office/drawing/2014/main" id="{A15711D4-951A-3541-806C-87D91F217D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913F90F-AD25-E446-93E9-8FC95B5720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80" y="1945054"/>
            <a:ext cx="4217807" cy="4060071"/>
          </a:xfrm>
        </p:spPr>
        <p:txBody>
          <a:bodyPr>
            <a:noAutofit/>
          </a:bodyPr>
          <a:lstStyle>
            <a:lvl1pPr marL="231775" indent="-231775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58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430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02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  <a:p>
            <a:pPr lvl="0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11" name="object 14">
            <a:extLst>
              <a:ext uri="{FF2B5EF4-FFF2-40B4-BE49-F238E27FC236}">
                <a16:creationId xmlns:a16="http://schemas.microsoft.com/office/drawing/2014/main" id="{49D3E8D3-81DB-DB47-898F-ABAAFD66420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07F7FD-79A8-5149-A7B0-1D5988C491FA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690407-3DAB-734F-B7B9-AD1649E28B1F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itle 7">
            <a:extLst>
              <a:ext uri="{FF2B5EF4-FFF2-40B4-BE49-F238E27FC236}">
                <a16:creationId xmlns:a16="http://schemas.microsoft.com/office/drawing/2014/main" id="{C165D976-D3A0-244F-A266-9B5F91402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52" y="603435"/>
            <a:ext cx="4228936" cy="10999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54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97897362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89FC93A2-116A-4043-A08A-70DACBFC98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931" y="1668026"/>
            <a:ext cx="3240594" cy="3240594"/>
          </a:xfrm>
          <a:prstGeom prst="rect">
            <a:avLst/>
          </a:prstGeom>
        </p:spPr>
      </p:pic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E793A380-0825-AA49-9D61-F2A67DD12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475" y="1668026"/>
            <a:ext cx="3240594" cy="3240594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197DB6B1-D1BE-FB4A-ACF1-76FB8564F44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5703" y="1668026"/>
            <a:ext cx="3240594" cy="3240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25697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31444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203" y="530534"/>
            <a:ext cx="9144000" cy="487362"/>
          </a:xfrm>
        </p:spPr>
        <p:txBody>
          <a:bodyPr>
            <a:noAutofit/>
          </a:bodyPr>
          <a:lstStyle>
            <a:lvl1pPr algn="l">
              <a:defRPr sz="20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MASTER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492876"/>
            <a:ext cx="2844800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/>
              <a:t>7 April 2016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492876"/>
            <a:ext cx="3860800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/>
              <a:t>PEPSICO - CONFIDENTIAL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auto">
          <a:xfrm>
            <a:off x="355601" y="482600"/>
            <a:ext cx="9804400" cy="0"/>
          </a:xfrm>
          <a:prstGeom prst="line">
            <a:avLst/>
          </a:prstGeom>
          <a:ln w="12700">
            <a:solidFill>
              <a:schemeClr val="tx2"/>
            </a:solidFill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>
              <a:defRPr/>
            </a:pPr>
            <a:endParaRPr lang="en-US" sz="1800">
              <a:latin typeface="Arial" pitchFamily="1" charset="0"/>
              <a:ea typeface="+mn-ea"/>
            </a:endParaRPr>
          </a:p>
        </p:txBody>
      </p:sp>
      <p:cxnSp>
        <p:nvCxnSpPr>
          <p:cNvPr id="10" name="Straight Connector 5"/>
          <p:cNvCxnSpPr/>
          <p:nvPr userDrawn="1">
            <p:custDataLst>
              <p:tags r:id="rId2"/>
            </p:custDataLst>
          </p:nvPr>
        </p:nvCxnSpPr>
        <p:spPr>
          <a:xfrm>
            <a:off x="609600" y="6477000"/>
            <a:ext cx="10871200" cy="1588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1001">
            <a:schemeClr val="dk2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404600" y="6324601"/>
            <a:ext cx="381000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ajor"/>
        </p:style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5EF0A4D5-E832-4F4F-9926-45BBAEAC93F4}" type="slidenum">
              <a:rPr lang="en-US" sz="1100">
                <a:solidFill>
                  <a:schemeClr val="bg1"/>
                </a:solidFill>
                <a:latin typeface="Calibri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70005" y="1094096"/>
            <a:ext cx="10972800" cy="5105400"/>
          </a:xfrm>
        </p:spPr>
        <p:txBody>
          <a:bodyPr/>
          <a:lstStyle>
            <a:lvl1pPr marL="342900" indent="-342900">
              <a:buFont typeface="Wingdings" pitchFamily="2" charset="2"/>
              <a:buChar char="§"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742950" indent="-285750">
              <a:buFont typeface="Wingdings" pitchFamily="2" charset="2"/>
              <a:buChar char="§"/>
              <a:defRPr sz="1400">
                <a:solidFill>
                  <a:schemeClr val="bg1">
                    <a:lumMod val="50000"/>
                  </a:schemeClr>
                </a:solidFill>
              </a:defRPr>
            </a:lvl2pPr>
            <a:lvl3pPr marL="1143000" indent="-228600">
              <a:buFont typeface="Wingdings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 marL="1600200" indent="-228600">
              <a:buFont typeface="Wingdings" pitchFamily="2" charset="2"/>
              <a:buChar char="§"/>
              <a:defRPr sz="1050">
                <a:solidFill>
                  <a:schemeClr val="bg1">
                    <a:lumMod val="50000"/>
                  </a:schemeClr>
                </a:solidFill>
              </a:defRPr>
            </a:lvl4pPr>
            <a:lvl5pPr marL="2057400" indent="-228600">
              <a:buFont typeface="Wingdings" pitchFamily="2" charset="2"/>
              <a:buChar char="§"/>
              <a:defRPr sz="105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4" descr="PEP RD logo2016.jp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167930"/>
            <a:ext cx="1727200" cy="441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53373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 userDrawn="1"/>
        </p:nvGrpSpPr>
        <p:grpSpPr>
          <a:xfrm>
            <a:off x="0" y="1"/>
            <a:ext cx="12192000" cy="1270656"/>
            <a:chOff x="0" y="0"/>
            <a:chExt cx="14630400" cy="1524787"/>
          </a:xfrm>
        </p:grpSpPr>
        <p:sp>
          <p:nvSpPr>
            <p:cNvPr id="19" name="object 2"/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rgbClr val="00A5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3"/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rgbClr val="92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4"/>
            <p:cNvSpPr/>
            <p:nvPr userDrawn="1"/>
          </p:nvSpPr>
          <p:spPr>
            <a:xfrm>
              <a:off x="12103527" y="457500"/>
              <a:ext cx="948690" cy="254000"/>
            </a:xfrm>
            <a:custGeom>
              <a:avLst/>
              <a:gdLst/>
              <a:ahLst/>
              <a:cxnLst/>
              <a:rect l="l" t="t" r="r" b="b"/>
              <a:pathLst>
                <a:path w="948690" h="254000">
                  <a:moveTo>
                    <a:pt x="947845" y="251979"/>
                  </a:moveTo>
                  <a:lnTo>
                    <a:pt x="695338" y="251979"/>
                  </a:lnTo>
                  <a:lnTo>
                    <a:pt x="760823" y="252063"/>
                  </a:lnTo>
                  <a:lnTo>
                    <a:pt x="915048" y="253999"/>
                  </a:lnTo>
                  <a:lnTo>
                    <a:pt x="947050" y="253860"/>
                  </a:lnTo>
                  <a:lnTo>
                    <a:pt x="947621" y="252742"/>
                  </a:lnTo>
                  <a:lnTo>
                    <a:pt x="947845" y="251979"/>
                  </a:lnTo>
                  <a:close/>
                </a:path>
                <a:path w="948690" h="254000">
                  <a:moveTo>
                    <a:pt x="361162" y="0"/>
                  </a:moveTo>
                  <a:lnTo>
                    <a:pt x="323278" y="7328"/>
                  </a:lnTo>
                  <a:lnTo>
                    <a:pt x="288079" y="26818"/>
                  </a:lnTo>
                  <a:lnTo>
                    <a:pt x="257688" y="58723"/>
                  </a:lnTo>
                  <a:lnTo>
                    <a:pt x="237447" y="94942"/>
                  </a:lnTo>
                  <a:lnTo>
                    <a:pt x="232060" y="106633"/>
                  </a:lnTo>
                  <a:lnTo>
                    <a:pt x="226448" y="118164"/>
                  </a:lnTo>
                  <a:lnTo>
                    <a:pt x="198773" y="154023"/>
                  </a:lnTo>
                  <a:lnTo>
                    <a:pt x="167080" y="179585"/>
                  </a:lnTo>
                  <a:lnTo>
                    <a:pt x="128596" y="202082"/>
                  </a:lnTo>
                  <a:lnTo>
                    <a:pt x="93282" y="217787"/>
                  </a:lnTo>
                  <a:lnTo>
                    <a:pt x="50883" y="233147"/>
                  </a:lnTo>
                  <a:lnTo>
                    <a:pt x="0" y="248752"/>
                  </a:lnTo>
                  <a:lnTo>
                    <a:pt x="2405" y="250023"/>
                  </a:lnTo>
                  <a:lnTo>
                    <a:pt x="12541" y="250913"/>
                  </a:lnTo>
                  <a:lnTo>
                    <a:pt x="27427" y="251490"/>
                  </a:lnTo>
                  <a:lnTo>
                    <a:pt x="44084" y="251824"/>
                  </a:lnTo>
                  <a:lnTo>
                    <a:pt x="211556" y="252556"/>
                  </a:lnTo>
                  <a:lnTo>
                    <a:pt x="947845" y="251979"/>
                  </a:lnTo>
                  <a:lnTo>
                    <a:pt x="948000" y="251490"/>
                  </a:lnTo>
                  <a:lnTo>
                    <a:pt x="948459" y="250431"/>
                  </a:lnTo>
                  <a:lnTo>
                    <a:pt x="906622" y="241818"/>
                  </a:lnTo>
                  <a:lnTo>
                    <a:pt x="854464" y="226089"/>
                  </a:lnTo>
                  <a:lnTo>
                    <a:pt x="813711" y="208127"/>
                  </a:lnTo>
                  <a:lnTo>
                    <a:pt x="774563" y="182918"/>
                  </a:lnTo>
                  <a:lnTo>
                    <a:pt x="746263" y="155045"/>
                  </a:lnTo>
                  <a:lnTo>
                    <a:pt x="552872" y="155045"/>
                  </a:lnTo>
                  <a:lnTo>
                    <a:pt x="518692" y="125775"/>
                  </a:lnTo>
                  <a:lnTo>
                    <a:pt x="512090" y="112533"/>
                  </a:lnTo>
                  <a:lnTo>
                    <a:pt x="505684" y="100497"/>
                  </a:lnTo>
                  <a:lnTo>
                    <a:pt x="479551" y="60159"/>
                  </a:lnTo>
                  <a:lnTo>
                    <a:pt x="448063" y="28775"/>
                  </a:lnTo>
                  <a:lnTo>
                    <a:pt x="412177" y="8710"/>
                  </a:lnTo>
                  <a:lnTo>
                    <a:pt x="374019" y="216"/>
                  </a:lnTo>
                  <a:lnTo>
                    <a:pt x="361162" y="0"/>
                  </a:lnTo>
                  <a:close/>
                </a:path>
                <a:path w="948690" h="254000">
                  <a:moveTo>
                    <a:pt x="661103" y="100986"/>
                  </a:moveTo>
                  <a:lnTo>
                    <a:pt x="617753" y="111927"/>
                  </a:lnTo>
                  <a:lnTo>
                    <a:pt x="596301" y="128405"/>
                  </a:lnTo>
                  <a:lnTo>
                    <a:pt x="586218" y="136932"/>
                  </a:lnTo>
                  <a:lnTo>
                    <a:pt x="576900" y="144108"/>
                  </a:lnTo>
                  <a:lnTo>
                    <a:pt x="568317" y="149654"/>
                  </a:lnTo>
                  <a:lnTo>
                    <a:pt x="560348" y="153368"/>
                  </a:lnTo>
                  <a:lnTo>
                    <a:pt x="552872" y="155045"/>
                  </a:lnTo>
                  <a:lnTo>
                    <a:pt x="746263" y="155045"/>
                  </a:lnTo>
                  <a:lnTo>
                    <a:pt x="745113" y="153649"/>
                  </a:lnTo>
                  <a:lnTo>
                    <a:pt x="741275" y="148569"/>
                  </a:lnTo>
                  <a:lnTo>
                    <a:pt x="732867" y="137822"/>
                  </a:lnTo>
                  <a:lnTo>
                    <a:pt x="693739" y="108339"/>
                  </a:lnTo>
                  <a:lnTo>
                    <a:pt x="672118" y="101990"/>
                  </a:lnTo>
                  <a:lnTo>
                    <a:pt x="661103" y="10098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5"/>
            <p:cNvSpPr/>
            <p:nvPr userDrawn="1"/>
          </p:nvSpPr>
          <p:spPr>
            <a:xfrm>
              <a:off x="13489241" y="216657"/>
              <a:ext cx="486409" cy="132080"/>
            </a:xfrm>
            <a:custGeom>
              <a:avLst/>
              <a:gdLst/>
              <a:ahLst/>
              <a:cxnLst/>
              <a:rect l="l" t="t" r="r" b="b"/>
              <a:pathLst>
                <a:path w="486409" h="132079">
                  <a:moveTo>
                    <a:pt x="485626" y="130642"/>
                  </a:moveTo>
                  <a:lnTo>
                    <a:pt x="346142" y="130642"/>
                  </a:lnTo>
                  <a:lnTo>
                    <a:pt x="475360" y="131686"/>
                  </a:lnTo>
                  <a:lnTo>
                    <a:pt x="485216" y="131603"/>
                  </a:lnTo>
                  <a:lnTo>
                    <a:pt x="485508" y="131019"/>
                  </a:lnTo>
                  <a:lnTo>
                    <a:pt x="485626" y="130642"/>
                  </a:lnTo>
                  <a:close/>
                </a:path>
                <a:path w="486409" h="132079">
                  <a:moveTo>
                    <a:pt x="183002" y="0"/>
                  </a:moveTo>
                  <a:lnTo>
                    <a:pt x="141639" y="12933"/>
                  </a:lnTo>
                  <a:lnTo>
                    <a:pt x="117544" y="43912"/>
                  </a:lnTo>
                  <a:lnTo>
                    <a:pt x="111732" y="55765"/>
                  </a:lnTo>
                  <a:lnTo>
                    <a:pt x="106167" y="66154"/>
                  </a:lnTo>
                  <a:lnTo>
                    <a:pt x="77702" y="93567"/>
                  </a:lnTo>
                  <a:lnTo>
                    <a:pt x="34077" y="114985"/>
                  </a:lnTo>
                  <a:lnTo>
                    <a:pt x="2675" y="125488"/>
                  </a:lnTo>
                  <a:lnTo>
                    <a:pt x="0" y="128248"/>
                  </a:lnTo>
                  <a:lnTo>
                    <a:pt x="7471" y="129793"/>
                  </a:lnTo>
                  <a:lnTo>
                    <a:pt x="18911" y="130478"/>
                  </a:lnTo>
                  <a:lnTo>
                    <a:pt x="28138" y="130655"/>
                  </a:lnTo>
                  <a:lnTo>
                    <a:pt x="117291" y="130936"/>
                  </a:lnTo>
                  <a:lnTo>
                    <a:pt x="485626" y="130642"/>
                  </a:lnTo>
                  <a:lnTo>
                    <a:pt x="485699" y="130409"/>
                  </a:lnTo>
                  <a:lnTo>
                    <a:pt x="485953" y="129812"/>
                  </a:lnTo>
                  <a:lnTo>
                    <a:pt x="446746" y="120480"/>
                  </a:lnTo>
                  <a:lnTo>
                    <a:pt x="406557" y="102554"/>
                  </a:lnTo>
                  <a:lnTo>
                    <a:pt x="380427" y="79978"/>
                  </a:lnTo>
                  <a:lnTo>
                    <a:pt x="280268" y="79978"/>
                  </a:lnTo>
                  <a:lnTo>
                    <a:pt x="273217" y="78772"/>
                  </a:lnTo>
                  <a:lnTo>
                    <a:pt x="266470" y="72561"/>
                  </a:lnTo>
                  <a:lnTo>
                    <a:pt x="258313" y="57472"/>
                  </a:lnTo>
                  <a:lnTo>
                    <a:pt x="251706" y="46017"/>
                  </a:lnTo>
                  <a:lnTo>
                    <a:pt x="226460" y="17151"/>
                  </a:lnTo>
                  <a:lnTo>
                    <a:pt x="194051" y="1467"/>
                  </a:lnTo>
                  <a:lnTo>
                    <a:pt x="183002" y="0"/>
                  </a:lnTo>
                  <a:close/>
                </a:path>
                <a:path w="486409" h="132079">
                  <a:moveTo>
                    <a:pt x="339168" y="52198"/>
                  </a:moveTo>
                  <a:lnTo>
                    <a:pt x="328328" y="52399"/>
                  </a:lnTo>
                  <a:lnTo>
                    <a:pt x="317724" y="55406"/>
                  </a:lnTo>
                  <a:lnTo>
                    <a:pt x="307635" y="61261"/>
                  </a:lnTo>
                  <a:lnTo>
                    <a:pt x="297039" y="70453"/>
                  </a:lnTo>
                  <a:lnTo>
                    <a:pt x="288063" y="76949"/>
                  </a:lnTo>
                  <a:lnTo>
                    <a:pt x="280268" y="79978"/>
                  </a:lnTo>
                  <a:lnTo>
                    <a:pt x="380427" y="79978"/>
                  </a:lnTo>
                  <a:lnTo>
                    <a:pt x="370313" y="68028"/>
                  </a:lnTo>
                  <a:lnTo>
                    <a:pt x="360441" y="60054"/>
                  </a:lnTo>
                  <a:lnTo>
                    <a:pt x="349966" y="54764"/>
                  </a:lnTo>
                  <a:lnTo>
                    <a:pt x="339168" y="5219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2" y="1"/>
            <a:ext cx="9307654" cy="11600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lang="en-US" sz="2800" b="1" i="0" spc="-2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09231" y="1595448"/>
            <a:ext cx="10631803" cy="449016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1800" b="0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7F9848A7-826A-F04C-B056-CC68B51B440D}"/>
              </a:ext>
            </a:extLst>
          </p:cNvPr>
          <p:cNvSpPr/>
          <p:nvPr userDrawn="1"/>
        </p:nvSpPr>
        <p:spPr>
          <a:xfrm>
            <a:off x="0" y="6452186"/>
            <a:ext cx="12192000" cy="417602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rgbClr val="0064E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50BC3CC-A47C-CA49-95E7-471C0E9DE9F8}"/>
              </a:ext>
            </a:extLst>
          </p:cNvPr>
          <p:cNvSpPr txBox="1"/>
          <p:nvPr userDrawn="1"/>
        </p:nvSpPr>
        <p:spPr>
          <a:xfrm>
            <a:off x="205074" y="6541325"/>
            <a:ext cx="57349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 FOR INTERNAL USE ONL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3F6916-AE39-8747-BAF4-AEF3B79DA94E}"/>
              </a:ext>
            </a:extLst>
          </p:cNvPr>
          <p:cNvSpPr txBox="1"/>
          <p:nvPr userDrawn="1"/>
        </p:nvSpPr>
        <p:spPr>
          <a:xfrm>
            <a:off x="6313025" y="6537222"/>
            <a:ext cx="13474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763" indent="0">
              <a:tabLst/>
            </a:pPr>
            <a:r>
              <a:rPr lang="en-US" sz="9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2311BA41-6552-884C-94B6-BE5B943A5BAF}" type="slidenum">
              <a:rPr lang="en-US" sz="9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4763" indent="0">
                <a:tabLst/>
              </a:pPr>
              <a:t>‹#›</a:t>
            </a:fld>
            <a:endParaRPr lang="en-US" sz="9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80516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o not remove" hidden="1">
            <a:extLst>
              <a:ext uri="{FF2B5EF4-FFF2-40B4-BE49-F238E27FC236}">
                <a16:creationId xmlns:a16="http://schemas.microsoft.com/office/drawing/2014/main" id="{BFDAB393-A776-47EC-984E-21CEDF0C7DF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6933" cy="16933"/>
          </a:xfrm>
          <a:prstGeom prst="octagon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shade val="80000"/>
                    <a:satMod val="1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188077"/>
            <a:ext cx="2844800" cy="476251"/>
          </a:xfrm>
          <a:prstGeom prst="rect">
            <a:avLst/>
          </a:prstGeom>
        </p:spPr>
        <p:txBody>
          <a:bodyPr lIns="91432" tIns="45716" rIns="91432" bIns="45716"/>
          <a:lstStyle>
            <a:lvl1pPr>
              <a:defRPr/>
            </a:lvl1pPr>
          </a:lstStyle>
          <a:p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318613" y="6618641"/>
            <a:ext cx="2844800" cy="476251"/>
          </a:xfrm>
          <a:prstGeom prst="rect">
            <a:avLst/>
          </a:prstGeom>
        </p:spPr>
        <p:txBody>
          <a:bodyPr/>
          <a:lstStyle>
            <a:lvl1pPr>
              <a:defRPr sz="1333" b="1"/>
            </a:lvl1pPr>
          </a:lstStyle>
          <a:p>
            <a:fld id="{0C1334CB-6AAE-4D55-881A-85AF191F9169}" type="slidenum">
              <a:rPr lang="en-US" altLang="zh-CN" smtClean="0">
                <a:solidFill>
                  <a:srgbClr val="FFFFFF"/>
                </a:solidFill>
              </a:rPr>
              <a:pPr/>
              <a:t>‹#›</a:t>
            </a:fld>
            <a:endParaRPr lang="en-US" altLang="zh-CN">
              <a:solidFill>
                <a:srgbClr val="FFFFFF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78" y="228615"/>
            <a:ext cx="10140951" cy="4683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11572244" y="6549416"/>
            <a:ext cx="2844800" cy="365125"/>
          </a:xfrm>
          <a:prstGeom prst="rect">
            <a:avLst/>
          </a:prstGeom>
        </p:spPr>
        <p:txBody>
          <a:bodyPr lIns="121909" tIns="60955" rIns="121909" bIns="60955"/>
          <a:lstStyle>
            <a:defPPr>
              <a:defRPr lang="en-US"/>
            </a:defPPr>
            <a:lvl1pPr marL="0" algn="l" defTabSz="914362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1" algn="l" defTabSz="9143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2" algn="l" defTabSz="9143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3" algn="l" defTabSz="9143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4" algn="l" defTabSz="9143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5" algn="l" defTabSz="9143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86" algn="l" defTabSz="9143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66" algn="l" defTabSz="9143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48" algn="l" defTabSz="9143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BED8B9B-7CC2-4055-8D73-A137FA8E1E51}" type="slidenum">
              <a:rPr lang="en-US" sz="1600" smtClean="0"/>
              <a:pPr/>
              <a:t>‹#›</a:t>
            </a:fld>
            <a:endParaRPr lang="en-US" sz="1600"/>
          </a:p>
        </p:txBody>
      </p:sp>
      <p:sp>
        <p:nvSpPr>
          <p:cNvPr id="6" name="TextBox 5"/>
          <p:cNvSpPr txBox="1"/>
          <p:nvPr userDrawn="1"/>
        </p:nvSpPr>
        <p:spPr>
          <a:xfrm>
            <a:off x="5098634" y="6485467"/>
            <a:ext cx="19256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i="1"/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3540647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2353D9-9366-43F3-9D30-1A33B41BE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2255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2353D9-9366-43F3-9D30-1A33B41BE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14">
            <a:extLst>
              <a:ext uri="{FF2B5EF4-FFF2-40B4-BE49-F238E27FC236}">
                <a16:creationId xmlns:a16="http://schemas.microsoft.com/office/drawing/2014/main" id="{B4B6F706-AD1F-B640-B628-5D2672D7B801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A627395-BAE1-1A4D-B94B-ACBDB056D943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865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21" name="Picture 20" descr="Graphical user interface&#10;&#10;Description automatically generated">
            <a:extLst>
              <a:ext uri="{FF2B5EF4-FFF2-40B4-BE49-F238E27FC236}">
                <a16:creationId xmlns:a16="http://schemas.microsoft.com/office/drawing/2014/main" id="{0731DAAD-BA87-20ED-300E-316AA7AB11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78" y="1"/>
            <a:ext cx="12192000" cy="6858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5803177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5803177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7CEA8AF8-B614-0A9D-C67A-55735326A21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70337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229600" y="6616700"/>
            <a:ext cx="3962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75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774FC17E-BFAB-4AE3-B9BF-0D27BF630B9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210884"/>
      </p:ext>
    </p:extLst>
  </p:cSld>
  <p:clrMapOvr>
    <a:masterClrMapping/>
  </p:clrMapOvr>
  <p:transition advClick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78A1C9-4674-7473-2695-49D1DD352F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C87B5A-D30D-9E8D-FD11-E59122A98CC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25D5310-B81F-4370-A023-620CE8D79360}"/>
              </a:ext>
            </a:extLst>
          </p:cNvPr>
          <p:cNvSpPr/>
          <p:nvPr userDrawn="1"/>
        </p:nvSpPr>
        <p:spPr>
          <a:xfrm>
            <a:off x="-529985" y="5585255"/>
            <a:ext cx="321276" cy="321276"/>
          </a:xfrm>
          <a:prstGeom prst="rect">
            <a:avLst/>
          </a:prstGeom>
          <a:solidFill>
            <a:srgbClr val="AE63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0139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AB6AE7-43CD-C976-2A32-5EBD06ABFC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0" y="-1390"/>
            <a:ext cx="6858000" cy="6858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7053145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7053145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6DD3A1EA-4EF1-8B38-6EB6-CA2F41A071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7578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485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18" name="Picture 1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BE6188F-CFD4-194E-BF9F-538039B470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10" y="1"/>
            <a:ext cx="12189529" cy="685661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5285017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5285017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8059F694-5CA6-002A-6D04-BB52DF0DCB7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776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BC28396-9FBD-0DEE-F8F8-FFE0B2718C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E120AF7-7A13-B64B-A6A7-D59437507B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7151" y="3277752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C49832-EB6B-4540-BD2F-BE66885F7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7151" y="5284915"/>
            <a:ext cx="5011699" cy="734982"/>
          </a:xfrm>
          <a:noFill/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9B9942F-8782-9217-0CDF-F953ADDDD2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07151" y="4262094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B3E34A-8F9C-5E86-5256-FC7240DB681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390"/>
            <a:ext cx="5292946" cy="528630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5766D94-4B68-6652-94F9-D21C447069A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165350" y="4549214"/>
            <a:ext cx="895724" cy="8957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DD9C52F-29B3-465A-2EB7-01668D9BBE9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96031F5-52E2-13E6-DC35-CE8E02A04CE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364EF2F-7762-0CE6-C043-30E89012A49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F89739-37E7-E219-23A3-1EA849A22F4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1BE03A-CA96-B873-5324-67F62D03762F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602706-645D-5DDD-7EB8-838BAD9ABD8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871359C-CB4F-183F-E5EA-DF631FB5B23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91C065A-D856-E961-9DBA-49E1715470F2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E6CF1B-7DEC-883B-A325-5B95ABA6D3D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008688E-F719-233C-5094-C97B2757AF7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4EF986-AA7F-F2B3-E160-6F48CF355CE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0C97FFF4-323F-FE21-4BAB-6CF4DCD32E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432" y="214473"/>
            <a:ext cx="3354568" cy="1352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701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78A1C9-4674-7473-2695-49D1DD352F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C87B5A-D30D-9E8D-FD11-E59122A98CC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31513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2AB644-762A-78B9-54D9-8D08DF1AC1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8D4B37A5-2FF3-D03C-A1E3-5C3067263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3" y="168381"/>
            <a:ext cx="10951910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55ED6C-27C8-0BE6-66C4-C99617BA86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21651B-17C8-D249-2390-5566494A420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11648" y="0"/>
            <a:ext cx="1202971" cy="9842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737415C-21A1-327B-15B5-C129D59365D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B001CD-89C1-F7AE-63E6-F2E4495AB5F6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4E7C63-8BEE-9577-3A62-8EC4D68DD44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0BF563C-14BE-8725-3744-228100E3EF1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190F70-2A5F-3DBA-9D7A-6EE3873339A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C8A78E-26BB-16EA-EC53-9065D761581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95E006-0601-F8D7-3C49-3C7EF4C062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DBFEF5-7DDD-931D-17BD-F1EB2E4FE48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DA30DD-51D9-0D16-A652-01DC1EDADF5C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DA8BC8-2657-8EF4-48C9-E72798F2C9E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DFD998-762C-EE05-A0B7-53157A3E2C8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6B16B-C169-4E72-F23E-30A3D09BC2A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72926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2D53B6A-0A2A-A63E-50F4-3BE989659A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8240EB8-E9EE-E202-7433-DC33E88D5E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 flipH="1">
            <a:off x="9940574" y="-19878"/>
            <a:ext cx="2261365" cy="144942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2B72C6A-1C29-9545-4ACF-5CF2293C6C5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50597A6-EF46-2E6A-1CB2-C8BE772CFDF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87C6C2-D16A-4418-C4E6-F0A60D5BEB71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2592EF-2EA8-FBAB-74D0-B35A1AD98D48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FBE338-5481-6AFF-BA76-7DF921C61BD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EF49FC-5AD6-CE5B-61C8-22D91120717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1800F1-C533-6F99-5272-67E29B41165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F5A6764-CC8C-3E72-C492-75D3621338F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451F83-5EF0-B406-2EBB-F51208625466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8B5A09-E0D4-42C1-70DD-C5C8BE6582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B1E00B-1DCD-F462-B861-9BBBFD27F24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F468405-E35A-3081-23AA-A470E0F483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735495"/>
            <a:ext cx="10952147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rgbClr val="133CCF"/>
                </a:solidFill>
              </a:defRPr>
            </a:lvl1pPr>
            <a:lvl2pPr>
              <a:defRPr sz="2800">
                <a:solidFill>
                  <a:srgbClr val="133CCF"/>
                </a:solidFill>
              </a:defRPr>
            </a:lvl2pPr>
            <a:lvl3pPr>
              <a:defRPr sz="2800">
                <a:solidFill>
                  <a:srgbClr val="133CCF"/>
                </a:solidFill>
              </a:defRPr>
            </a:lvl3pPr>
            <a:lvl4pPr>
              <a:defRPr sz="2800">
                <a:solidFill>
                  <a:srgbClr val="133CCF"/>
                </a:solidFill>
              </a:defRPr>
            </a:lvl4pPr>
            <a:lvl5pPr>
              <a:defRPr sz="28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42270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0E294F4-59D8-22AF-A935-EED997D8ED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59A700-3A2B-F840-339B-5A4EFC24EFA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6200000">
            <a:off x="10124325" y="-18535"/>
            <a:ext cx="2035962" cy="209938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1BB1214-EAA9-160D-C9CA-5B2611FBEAD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E3CC20C-FB3E-7FAE-E265-957CBD7B046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0B73B3-945A-C41F-D753-21E1E64F19A1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682366-F3D6-E75D-7601-4EE50B39492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88BFE8-C95B-6DBC-1BFB-4F7A3FA5712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745BA5-7D92-2CFE-67BD-72F8CF25EF2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DBB934-58B7-A22A-CF85-648D5F2CFD5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ED8663-2765-3550-97E7-F2308B59A29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1E37FC-D396-C377-63A7-7848EDB9805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45ECEF-2D90-95ED-043A-8FF8AA3C30E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DE37E5-8ED1-0746-90D2-0FD9DAFB53C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566DF6-38C2-83FB-5B6E-B84330934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23FF341-27CB-7B69-AB79-6AEE6F5EF48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04873" y="715868"/>
            <a:ext cx="10977895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28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28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28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02204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CE644B59-6021-A14B-DD53-20AB5F57E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8"/>
          <a:stretch/>
        </p:blipFill>
        <p:spPr>
          <a:xfrm>
            <a:off x="0" y="6684"/>
            <a:ext cx="6096000" cy="6844632"/>
          </a:xfrm>
          <a:prstGeom prst="rect">
            <a:avLst/>
          </a:prstGeom>
        </p:spPr>
      </p:pic>
      <p:pic>
        <p:nvPicPr>
          <p:cNvPr id="2" name="Picture Placeholder 7" descr="Water droplets on a surface&#10;&#10;Description automatically generated with medium confidence">
            <a:extLst>
              <a:ext uri="{FF2B5EF4-FFF2-40B4-BE49-F238E27FC236}">
                <a16:creationId xmlns:a16="http://schemas.microsoft.com/office/drawing/2014/main" id="{3CBB4E9F-B4FB-5C6F-BA96-96E70DEEB6E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13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BACE25-5353-4E36-7CF7-576A4CC6A9E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019C6F-63E6-A48A-AF7F-F6F02E6105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30E482-0B3D-079C-B471-D36C4ED8040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91393F-B91C-2C52-68D3-DF9F990B6D5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1DCBA-5CEF-EE71-662B-7C59DF0BA0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22531F-0EF9-6DD3-C1B0-73D93A16B3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2605293-7BA4-6E38-6AC1-70BEFA1A36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6BA7F6-141F-832B-EC44-13CDC72E28C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5E3C91-27B4-E77D-E94B-BF5D3B2F7A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247CD1-07D6-96FF-18E2-E9184FF7A85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4D869B9-EB64-AE45-11E8-CC034A771C87}"/>
              </a:ext>
            </a:extLst>
          </p:cNvPr>
          <p:cNvSpPr txBox="1"/>
          <p:nvPr userDrawn="1"/>
        </p:nvSpPr>
        <p:spPr>
          <a:xfrm>
            <a:off x="4512623" y="73270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84155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2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Placeholder 18" descr="A picture containing blue, plastic, vegetable&#10;&#10;Description automatically generated">
            <a:extLst>
              <a:ext uri="{FF2B5EF4-FFF2-40B4-BE49-F238E27FC236}">
                <a16:creationId xmlns:a16="http://schemas.microsoft.com/office/drawing/2014/main" id="{73438312-45D9-75E2-9176-1F696DB1959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13" name="Title 7">
            <a:extLst>
              <a:ext uri="{FF2B5EF4-FFF2-40B4-BE49-F238E27FC236}">
                <a16:creationId xmlns:a16="http://schemas.microsoft.com/office/drawing/2014/main" id="{B25241A1-97E3-3206-1B3E-8025F28AF2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2644" y="975438"/>
            <a:ext cx="5527649" cy="95974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5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EA4697B-B83D-1680-0152-465D89D0AF3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2645" y="1997133"/>
            <a:ext cx="5527648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5AC75EF0-09B5-E87F-C824-9ED2E56EC4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82645" y="4402936"/>
            <a:ext cx="5527646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5B7329-4B82-99CE-EDA3-7AAB89496EF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12AD305-5B72-F0AC-8186-6B48C51A6E0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37A9A0-BD0A-D000-5209-7FFD5836D12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BB9ED0-195B-C789-FC52-C414783EF72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65D2F3-ECCF-E660-3949-4B9A97FF919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4663DF2-1221-1E13-55E2-03069963291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852FCC-D6AD-3934-24DE-E0383E09195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CDD2C14-E56D-432D-DDDC-D509AE18DC70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9052AD9-8CAC-3B85-44E6-BAC021877CB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A61BC68-F306-2AF8-8121-4A145B25FD3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C395AB-74BD-B7DF-B69D-B04B1654B0B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F52B0D-E776-D08A-0A30-8B949D9F97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82644" y="2673326"/>
            <a:ext cx="5527646" cy="15652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9A47E92-F9E8-52C9-9AFB-51C9588271D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80177" y="5046602"/>
            <a:ext cx="5527646" cy="15652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40090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31B6055-753F-B35A-F46A-50D548BD42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98CA8E3-8E10-31C8-E30A-7034E2AEB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90"/>
            <a:ext cx="5214876" cy="45134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47F414-5F05-B515-6F7E-82386ABDF7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9700" y="4560782"/>
            <a:ext cx="2282300" cy="2314252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855BE84-80B4-B287-0343-996ACA21E6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67017" y="3684482"/>
            <a:ext cx="8674442" cy="608864"/>
          </a:xfrm>
        </p:spPr>
        <p:txBody>
          <a:bodyPr>
            <a:noAutofit/>
          </a:bodyPr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1660172-DB72-31A3-0D6C-322C56FFDF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67017" y="4475046"/>
            <a:ext cx="8674442" cy="608864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Subtile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1A6BFE-D9CB-E904-15BB-81F9E486EF9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D46EAB5-B1CA-C4F4-1686-52A1616696B5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2277D3-97E2-B7F7-CFD8-32FD89222BC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3E162B-CBA8-CB55-F442-0CB77D72408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978BA-FCF9-D00F-B941-71EDC792CCD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BABC82-73C7-B527-726C-788CFB4C74AF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626234-325E-0353-F1C1-E3EC675923F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3D02AF-CD28-6C28-32A9-6F832CA8C9C0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3CBC14-60EB-A4C8-622E-0FA75A726D0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AD17D68-EBF1-4E84-04F2-30EB4894F4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B5EF35E-C934-F5D5-D4EC-48FBDAC0DD4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9139E082-ED19-EE87-24B3-FAAD8B0F37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432" y="214473"/>
            <a:ext cx="3354568" cy="1352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619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4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9336D69-015D-4BB5-BC86-8242628C5C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1811" y="0"/>
            <a:ext cx="2290189" cy="77227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056823E-6006-1F75-24A2-A51ABC6D50B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2538" y="614051"/>
            <a:ext cx="401053" cy="401053"/>
          </a:xfrm>
          <a:prstGeom prst="rect">
            <a:avLst/>
          </a:prstGeom>
        </p:spPr>
      </p:pic>
      <p:pic>
        <p:nvPicPr>
          <p:cNvPr id="19" name="Picture Placeholder 16" descr="A person standing in a field&#10;&#10;Description automatically generated with medium confidence">
            <a:extLst>
              <a:ext uri="{FF2B5EF4-FFF2-40B4-BE49-F238E27FC236}">
                <a16:creationId xmlns:a16="http://schemas.microsoft.com/office/drawing/2014/main" id="{2C991B4A-3ECA-8741-34BA-D2454DD6ABF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9508"/>
            <a:ext cx="6096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1B41031-0BEC-91FD-2AE4-67BA017151F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4496"/>
            <a:ext cx="3979484" cy="478072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5E47B3C-F251-CCB7-363E-BA7FFC8DDC78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8CD422-4F5B-8389-973A-EF7BBE7E8A7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60CD5B9-A866-0DB0-09B1-F4B500315A9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B90D3D8-BE3F-4FFE-EC5C-4EB1BD69A3D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D4B41A8-79B4-ECD3-0611-C69D1E250FA7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8B490D5-3229-517D-2ECD-68F6ADCBBA09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3F0BD5-8120-61B3-82BD-A589B8281D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F1AEAF-12E1-6A86-590E-43BE99137F3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7596ECF-CB1B-4CBD-CA40-A323F673A97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379F450-479E-F491-F86A-A4E7A942A34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25A055B-8A6A-9FD6-191F-8916F3831BB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7">
            <a:extLst>
              <a:ext uri="{FF2B5EF4-FFF2-40B4-BE49-F238E27FC236}">
                <a16:creationId xmlns:a16="http://schemas.microsoft.com/office/drawing/2014/main" id="{A512E1FD-7E6B-E762-11C8-A213453A90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C21744E-D207-E57D-A5E1-1D499D8EA9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28072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5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Placeholder 8" descr="A picture containing corn, person, food&#10;&#10;Description automatically generated">
            <a:extLst>
              <a:ext uri="{FF2B5EF4-FFF2-40B4-BE49-F238E27FC236}">
                <a16:creationId xmlns:a16="http://schemas.microsoft.com/office/drawing/2014/main" id="{05DC7BF9-0284-3EF7-3885-91D2854FB6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0"/>
            <a:ext cx="6096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9336D69-015D-4BB5-BC86-8242628C5C5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1811" y="0"/>
            <a:ext cx="2290189" cy="77227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056823E-6006-1F75-24A2-A51ABC6D50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2538" y="614051"/>
            <a:ext cx="401053" cy="40105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1B41031-0BEC-91FD-2AE4-67BA017151F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4496"/>
            <a:ext cx="3979484" cy="4780722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FCB6A94C-CD4A-89F0-45CB-DE624B356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A0EA1A6-3264-1E39-4647-913E401A4436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4DE58C-A78E-4F34-ACAA-41A7160E46C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F67EBC-1039-7D44-E156-6A9E66C9695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E29477-DEFD-146C-1018-CC8DE12E17C7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06559B-81D2-551B-E4BE-327DD47FBF2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F9D56F-4963-CA4D-63DD-5C11EAFE0E6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AC3E69-27DE-EA7B-C7B9-F7FDD7F1A1B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90DD664-ECDA-DF75-70AE-010CEE51DB2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3B61D6-C860-E099-ABB7-82905D4C1EBC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C7256-BB05-30D0-C8C7-EE9AF8C4DF95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1A77411-FF83-F3A0-AE36-BE75310525A8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0BB8633-AB7D-8ED3-F9F7-19E93AF13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96834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_5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A picture containing text, indoor, counter&#10;&#10;Description automatically generated">
            <a:extLst>
              <a:ext uri="{FF2B5EF4-FFF2-40B4-BE49-F238E27FC236}">
                <a16:creationId xmlns:a16="http://schemas.microsoft.com/office/drawing/2014/main" id="{43935B4F-562F-318B-BF67-C14B8513B4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1" t="-110" r="19923" b="110"/>
          <a:stretch/>
        </p:blipFill>
        <p:spPr>
          <a:xfrm>
            <a:off x="0" y="-27706"/>
            <a:ext cx="6096000" cy="689820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9336D69-015D-4BB5-BC86-8242628C5C5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1811" y="0"/>
            <a:ext cx="2290189" cy="77227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056823E-6006-1F75-24A2-A51ABC6D50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2538" y="614051"/>
            <a:ext cx="401053" cy="40105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1B41031-0BEC-91FD-2AE4-67BA017151F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4496"/>
            <a:ext cx="3979484" cy="4780722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FCB6A94C-CD4A-89F0-45CB-DE624B356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A0EA1A6-3264-1E39-4647-913E401A4436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4DE58C-A78E-4F34-ACAA-41A7160E46C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F67EBC-1039-7D44-E156-6A9E66C9695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E29477-DEFD-146C-1018-CC8DE12E17C7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06559B-81D2-551B-E4BE-327DD47FBF2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F9D56F-4963-CA4D-63DD-5C11EAFE0E6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AC3E69-27DE-EA7B-C7B9-F7FDD7F1A1B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90DD664-ECDA-DF75-70AE-010CEE51DB2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3B61D6-C860-E099-ABB7-82905D4C1EBC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C7256-BB05-30D0-C8C7-EE9AF8C4DF95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1A77411-FF83-F3A0-AE36-BE75310525A8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0BB8633-AB7D-8ED3-F9F7-19E93AF13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0925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84B00D6-F204-9642-B56C-5BBE902D4083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99591D5-E53C-F400-D2FE-351007A75B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BF8C198-0614-9383-F6BF-D9CA65D141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936D29E-0CB8-16C6-2CDB-28F21243B4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748528"/>
            <a:ext cx="6730756" cy="253240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. 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3ED9364B-EA77-5ABB-E1E9-8BAB0EC4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2823" y="2042669"/>
            <a:ext cx="6730756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31F7D3-74BB-564D-9CC4-6AF30FD485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2890653"/>
            <a:ext cx="6730756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DBC506-D395-E5A5-239C-FD4E7FC7886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023579" y="0"/>
            <a:ext cx="517836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E9DD62-2AED-1120-1E80-37B3A0661DA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046B9A-BC02-9990-A298-22E4D87398D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722C6D-CDB1-86E1-D240-AE401227EF57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31E2B0-77B2-6162-91FE-187390C47B8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CB9BE38-323F-CF3A-99E0-84CEF660F71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47A148-2E3D-1D6E-1BC8-5E7D4FB72CE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CE58FB-40F5-70FA-F9F2-CBF0EE2808D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CA09D7-558B-F952-035F-CAC11390AC81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B208DD0-7F81-4D68-6DCA-67D9786985F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D921CBB-3893-E37D-4C8D-2C4CDA1F661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9460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1B31E91-131E-9F1B-B825-CE238076C0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4884" y="2252671"/>
            <a:ext cx="8992372" cy="2352658"/>
          </a:xfrm>
        </p:spPr>
        <p:txBody>
          <a:bodyPr/>
          <a:lstStyle>
            <a:lvl1pPr algn="ctr">
              <a:defRPr>
                <a:solidFill>
                  <a:srgbClr val="153DC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Quo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A8FABC3-39CB-DBD6-ED10-D07B3D1F62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568"/>
            <a:ext cx="12192000" cy="685086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D43324-D355-15DC-9F7F-F1F9FF32074D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C69D31-673A-F37A-FF74-17FE81C16F24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602CFF-3440-149F-DB19-8C2F04BDA73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28B8054-E451-1E5F-F021-A5E46F8E6779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D37D35-D9EB-A0FF-68F6-4589550DF8E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9CCEB0-81E4-63BC-3235-145DD115B35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921DC3-C55E-CA53-3FA4-0275A29FEF40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A54148-C346-8B17-0938-7CE3AD5B3B1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9A4F9E-E773-6516-6B1C-D18FFFD150F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6A98E1-00AE-D04E-6621-D110FC9E2EB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6003117-0C4E-43A0-FABB-51EC0D04EE0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6462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8D175BA-52D5-4F17-0EE7-784CFB789A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6DC7CEC-5A62-AFF6-732F-20A9B663B6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295935" y="0"/>
            <a:ext cx="6896065" cy="6858000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328D0AFF-FC2C-9B9F-627F-DB24FC54AB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4025784"/>
            <a:ext cx="6896064" cy="2099116"/>
          </a:xfrm>
        </p:spPr>
        <p:txBody>
          <a:bodyPr>
            <a:noAutofit/>
          </a:bodyPr>
          <a:lstStyle>
            <a:lvl1pPr>
              <a:defRPr sz="4000" b="0">
                <a:solidFill>
                  <a:srgbClr val="153DCF"/>
                </a:solidFill>
                <a:latin typeface="+mn-lt"/>
              </a:defRPr>
            </a:lvl1pPr>
          </a:lstStyle>
          <a:p>
            <a:r>
              <a:rPr lang="en-US"/>
              <a:t>Inspirational or reference </a:t>
            </a:r>
            <a:br>
              <a:rPr lang="en-US"/>
            </a:br>
            <a:r>
              <a:rPr lang="en-US"/>
              <a:t>quote should be here highlighting some key words with a different color.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A71DEEB-FA35-9D45-FAC5-1BB9D425CE9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6E568D-0837-ADE9-A14F-3D440BAFDD8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E187E7-1DCD-C27A-A71B-B55B8944B94D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DC4CF9-ADE5-5630-694F-EF8E7E316CB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7972F1F-0DA8-02DD-FEA9-6188567715A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21EE73-AA9F-69BB-D67F-644525DA71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B2B4EF-51AE-101E-3569-F76D512DB85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13616A-CA4D-9D9D-31BE-CB72CB16A24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60BA59-1037-14E7-9275-C031EA7877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3F475E-01C3-2668-5E98-5F372A5FEA1E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648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_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E835239-ECF4-4328-4803-FFACE5629B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8D175BA-52D5-4F17-0EE7-784CFB789A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82FF431-011F-065B-7635-3B0775D76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23117" y="382660"/>
            <a:ext cx="9053536" cy="909493"/>
          </a:xfrm>
        </p:spPr>
        <p:txBody>
          <a:bodyPr>
            <a:normAutofit/>
          </a:bodyPr>
          <a:lstStyle>
            <a:lvl1pPr>
              <a:defRPr sz="4000">
                <a:solidFill>
                  <a:srgbClr val="143DCF"/>
                </a:solidFill>
                <a:latin typeface="+mn-lt"/>
              </a:defRPr>
            </a:lvl1pPr>
          </a:lstStyle>
          <a:p>
            <a:r>
              <a:rPr lang="en-US"/>
              <a:t>Click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1F0BE97-CA99-7B79-D826-93E9F46EBB4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C3A227-3D76-4165-91B3-287D7E99740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28AECE-747E-0B41-291E-F103A0FAB7F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35519D-C4F2-5EDC-3804-6C2D8ECD5657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690A03-A770-6530-1E47-F016AB1E892B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FA8D01-B7F4-5921-0B94-83CB908874C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53F36E-A990-9FEA-625A-5420B4D93CD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4E1361-ECF1-91E6-50F4-51EE3B8F871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EBE4AF-688B-F414-F99A-2BDDA34483D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D1D321D-3D0B-A997-798C-0BDBC34945D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040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0703FA-F8EC-03DD-1E36-D8E2A8594C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267"/>
            <a:ext cx="12186837" cy="687413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7E7D121-327E-617A-67C7-C4DFE6B33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737" y="388571"/>
            <a:ext cx="10515600" cy="909493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27C6441-F40A-4E3F-636E-DC9EA33ED3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5737" y="6594926"/>
            <a:ext cx="2324100" cy="1079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EFD1AD8-A82A-D201-FA11-3D2BB29DF8E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017F892-BE05-D890-A2F5-16831FAF48A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161CC2-A373-DC17-4C84-1402F2AB6DA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A1BECA5-8EA3-A98A-C3B3-64C895C8AE2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4EB9D6-0136-CB5C-F37E-886BBB8158CC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CBF3E87-3DA6-E216-9B23-B7422ADD1BC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FCE919-6BBF-B3A9-15EA-B58C789472C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4A32DF-D5C1-A9C3-FA22-CA83869F693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CAB153-DF4A-88E7-9707-FBD92957529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0EA46B-E164-A56C-5A24-D68B12B41C3E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5189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5578B07-4D87-C67E-03EC-C2B62BD923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BA7BD91-1229-618F-FEE9-62EAECA716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FEF50F8-AEE9-A933-6117-D7B4B4F123A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C1269EF-E9CB-D480-DFFE-AD15E3224D0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BC36A3-57BB-3D6F-29E8-C94CB520796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0A4A4D2-A39B-335D-008B-8CE77145E50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34A3B1-37E0-E12E-B62D-FDD72569592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9A66ED-CBDE-2ED1-D45C-AF5DE42445D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85DC56-5961-D3BD-A150-BF31D0D0B2F9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858EBE-D6F1-B2FD-7907-11351E2C032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A81C2A-1D81-B16D-B913-994BA595953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0778D7-BBFE-BC0F-598E-CF9997C4E8B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657207-F844-85CD-F9E3-4241A0D19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7724A55-6F8E-1B2B-3043-9E24C064AA2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2" y="1301577"/>
            <a:ext cx="10952147" cy="50179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19556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AB13C4C8-B71C-8BC1-0E3C-8C4DC17483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04" y="0"/>
            <a:ext cx="12202931" cy="984250"/>
          </a:xfrm>
          <a:prstGeom prst="rect">
            <a:avLst/>
          </a:prstGeom>
        </p:spPr>
      </p:pic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4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2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40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/>
        </p:nvCxnSpPr>
        <p:spPr>
          <a:xfrm>
            <a:off x="486325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/>
        </p:nvCxnSpPr>
        <p:spPr>
          <a:xfrm>
            <a:off x="3335033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/>
        </p:nvCxnSpPr>
        <p:spPr>
          <a:xfrm>
            <a:off x="6207185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/>
        </p:nvCxnSpPr>
        <p:spPr>
          <a:xfrm>
            <a:off x="9079340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10"/>
            <a:ext cx="11132394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7067016C-4D61-C698-2AAD-FFD59BADA60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F4E00A7-EFE8-F4A2-78A5-50FE1CB61C6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5423" y="-2477"/>
            <a:ext cx="2036303" cy="9867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244FC22-6B79-1C3E-A2DA-92FA9AB159C5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D61C27-93DB-15CE-45C5-0095041A7E5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ADDD02F-F15F-2AEB-48DB-6DA77AA7E01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787604-BAF9-7630-438C-641264347A0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F16887-1288-3CF2-8BD3-C1DB8573868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297F63B-6B5D-5AAE-A494-07D9AE822EF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E3C0B8-CB1F-F4D8-2670-2EE4447E08DB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612653-4D68-9488-9DFF-4318F161E623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2B0C6BC-D022-D9C3-CA14-913AC87540C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5ACF052-98BE-98AE-3D4A-6658A1D40DA1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7C3E1CC-523A-B22A-FC77-41C4DAB0DF2C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7FCD131-7033-D4B8-4E06-B8CEB5837C4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1302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1211A5B-9B0D-C6D5-47A1-70A5553BC9A4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3344243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B19AC64-B490-BF55-4E2F-DCA061E7108C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207189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BB31A14-1A3C-3E8B-A4A5-0B5AC9BD4457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9091847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2786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Placeholder 11" descr="A picture containing person, cutting, plant, vegetable&#10;&#10;Description automatically generated">
            <a:extLst>
              <a:ext uri="{FF2B5EF4-FFF2-40B4-BE49-F238E27FC236}">
                <a16:creationId xmlns:a16="http://schemas.microsoft.com/office/drawing/2014/main" id="{B5C0B13E-0394-87CE-81AC-CF00C5075C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483963" cy="6858000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DD90E648-1748-89AA-A73B-36CFFFF9A76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4187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6F23CE4-FE7C-2C77-B618-E4367FE3FD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04" y="0"/>
            <a:ext cx="12202931" cy="984250"/>
          </a:xfrm>
          <a:prstGeom prst="rect">
            <a:avLst/>
          </a:prstGeom>
        </p:spPr>
      </p:pic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59548"/>
            <a:ext cx="10960770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C6D7EFE-B94E-A0C8-5388-BC62CE528A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7265669-6E78-1892-09A2-F67A67F5F0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08907" y="0"/>
            <a:ext cx="1202971" cy="9842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0CF7B4-DE90-21A6-D620-7BCD91B40AD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9480" y="159548"/>
            <a:ext cx="269928" cy="2699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663213-C84B-C89E-4A66-6CE8722A511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992DEB-7BB3-9DE7-9807-6EDEF16147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6B7645-AB98-A166-C159-BBB0911ED8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AAECB4-7ED0-587F-8F3B-BB80E5A4822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9A0D5-CB5E-BA69-32F3-8D59FAEC5CC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7DEB0-1704-6FD6-D04F-E1BB13604DB7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3FE8C-0C48-F488-DFF3-81EDA6B0F23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7E62DB-5181-617B-620D-4714F10E619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31B9C5-02D6-3BE6-E9FF-6BCC50BAB5A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734AE0-25BD-1764-A032-4FB5F5D2E6A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B7120-787E-71B4-78EC-A07E3FD7F6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8589BBA-1E7C-0069-E57B-23F855B098D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D5238E6-2807-CE10-087F-3F164EDCD798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988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28879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2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334409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F7A1BCF4-A8A2-6245-A98E-69AAAE820C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6515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8B64A02-492D-FE46-8E47-7D3C8EF0DFE6}"/>
              </a:ext>
            </a:extLst>
          </p:cNvPr>
          <p:cNvCxnSpPr>
            <a:cxnSpLocks/>
          </p:cNvCxnSpPr>
          <p:nvPr userDrawn="1"/>
        </p:nvCxnSpPr>
        <p:spPr>
          <a:xfrm>
            <a:off x="4436515" y="1854431"/>
            <a:ext cx="334409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EAB7758D-1263-9340-B58E-8BCF64EAE3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5517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09C1042-81DA-7544-BC1C-27DB8E4DED8E}"/>
              </a:ext>
            </a:extLst>
          </p:cNvPr>
          <p:cNvCxnSpPr>
            <a:cxnSpLocks/>
          </p:cNvCxnSpPr>
          <p:nvPr userDrawn="1"/>
        </p:nvCxnSpPr>
        <p:spPr>
          <a:xfrm>
            <a:off x="8235517" y="1854431"/>
            <a:ext cx="334409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bject 2">
            <a:extLst>
              <a:ext uri="{FF2B5EF4-FFF2-40B4-BE49-F238E27FC236}">
                <a16:creationId xmlns:a16="http://schemas.microsoft.com/office/drawing/2014/main" id="{0A7B2C8C-0511-364F-88EC-07A6DFE862AA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Title 23">
            <a:extLst>
              <a:ext uri="{FF2B5EF4-FFF2-40B4-BE49-F238E27FC236}">
                <a16:creationId xmlns:a16="http://schemas.microsoft.com/office/drawing/2014/main" id="{DBD66D1A-0C25-3743-96E4-E9D4CA69E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68310"/>
            <a:ext cx="10970377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6AFD1CD-D5BA-6140-8A4F-0DE9E300A16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797EBC-F45A-5614-213D-FC429635A4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5361CBB-EF59-D080-80B0-5480006913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24983" y="-274666"/>
            <a:ext cx="1333064" cy="12243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96AFB0A-5734-D136-99C1-FC06A163AC56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EA3F4DF-9AFD-E5CA-6FFC-0C5171D37794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877785-DF99-DAEF-7103-151AA5D4AF7C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AB857CA-9ED5-A3BF-FB4B-2364F4DC154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63CA41-CD6F-08EF-E125-A56CCE0B3C9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A418D9-25DB-F3D1-1ADC-C3DC47DD25C9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9E3A67D-E674-79A3-EC8F-3BB9806406E6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6F6241-F702-3A52-9619-A59138C1753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5B3004-8E8A-A99A-A6D5-743A8F0BDB93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18EDF87-9B2F-056B-5F32-14C76A5B655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F8948B8-0F08-F0AC-5D67-008A3E323F9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78667E-ED3C-080E-08B8-39BB7381CA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2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E6AB6E1-E07C-5D1F-3C6B-B8A298B9DF5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436516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D2AE29F-8132-E512-0EFC-58E9A4D85AB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35517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8474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3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3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1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39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 userDrawn="1"/>
        </p:nvCxnSpPr>
        <p:spPr>
          <a:xfrm>
            <a:off x="486324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 userDrawn="1"/>
        </p:nvCxnSpPr>
        <p:spPr>
          <a:xfrm>
            <a:off x="3335032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 userDrawn="1"/>
        </p:nvCxnSpPr>
        <p:spPr>
          <a:xfrm>
            <a:off x="6207184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 userDrawn="1"/>
        </p:nvCxnSpPr>
        <p:spPr>
          <a:xfrm>
            <a:off x="9079339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bject 2">
            <a:extLst>
              <a:ext uri="{FF2B5EF4-FFF2-40B4-BE49-F238E27FC236}">
                <a16:creationId xmlns:a16="http://schemas.microsoft.com/office/drawing/2014/main" id="{81C8B496-17AD-854B-86A7-46CFE4A24FA1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2" y="168310"/>
            <a:ext cx="11119890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C21270-35B1-917E-5B39-F641AC7A2B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EEC18E0-FF9D-06C5-E61F-880246308F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12779" y="-2476"/>
            <a:ext cx="1988947" cy="9637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21BF71D-D82A-9760-6CC0-589D33DD0EB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B60027D-FE01-9E9C-AD68-E6A41B660B1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2C3C04-63CE-5984-FEB5-4E970C22DD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C6B8117-920A-3F52-9178-292E8F445D2B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EBB7939-B76C-8B48-04B0-DF24C0F4AAD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5823CA-0482-3BB7-C8ED-9743F4FF96D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8A90C83-7B47-517E-E735-C5A4B0CC674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25B2EA1-B44B-0503-E5B8-56C9445DA11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E6E4564-4B84-E97D-0AA4-9AAED30E7F7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3550EF-042D-0369-FC2F-915573C5BB6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1332006-AC9E-C354-AEB7-85CE7FE6B69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6BA6181-C0C2-6FAD-E2D9-B2DE669F7E6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632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6367D2C-AEEF-96B6-7AE2-5C2A9F2F574F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335031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A3EC043-A860-35A9-429A-A760D2DDD0FE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20718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01FDFF9-DA9D-3895-9B40-7565F0766830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9079340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30679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1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2">
            <a:extLst>
              <a:ext uri="{FF2B5EF4-FFF2-40B4-BE49-F238E27FC236}">
                <a16:creationId xmlns:a16="http://schemas.microsoft.com/office/drawing/2014/main" id="{4F62F695-717D-374C-802D-7FEBEAD6FE46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1" y="159548"/>
            <a:ext cx="10937489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6A1DD92-022E-84B0-0DC9-553E39FBE8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5AB0E66-6F76-8A2A-0794-5CC77A151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6E22F23-0A09-3474-5588-4788EFFFD991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13D79B-8F94-CE57-37C2-5B43A9DB45C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F7D53F2-264D-6985-2BBC-3A6B5ABF88F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65F414-B91D-CDB6-4669-B6C2DE11E4BD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D8BDE56-681E-C58C-94BC-66F06762AF2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FD51FB-2CC7-0B9E-449D-953D21AE882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E968223-A9A4-7128-ED40-723D21F98C8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597E506-99A8-D7B7-CDA8-B5E0422C8663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2E5FC88-D8B7-6440-2CEB-AF649A4E705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9084707-59A7-2CAF-9AEE-6D19DBBCDEF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9A7F53A-47F8-9935-1B64-6E245F3E6D6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1FB5B96-D479-A7BC-B63E-14247CF055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5AC2734-39D8-8E3D-702D-EF042AB021E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988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40916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2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F7A1BCF4-A8A2-6245-A98E-69AAAE820C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6515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8B64A02-492D-FE46-8E47-7D3C8EF0DFE6}"/>
              </a:ext>
            </a:extLst>
          </p:cNvPr>
          <p:cNvCxnSpPr>
            <a:cxnSpLocks/>
          </p:cNvCxnSpPr>
          <p:nvPr userDrawn="1"/>
        </p:nvCxnSpPr>
        <p:spPr>
          <a:xfrm>
            <a:off x="4436515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EAB7758D-1263-9340-B58E-8BCF64EAE3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5517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09C1042-81DA-7544-BC1C-27DB8E4DED8E}"/>
              </a:ext>
            </a:extLst>
          </p:cNvPr>
          <p:cNvCxnSpPr>
            <a:cxnSpLocks/>
          </p:cNvCxnSpPr>
          <p:nvPr userDrawn="1"/>
        </p:nvCxnSpPr>
        <p:spPr>
          <a:xfrm>
            <a:off x="8235517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bject 2">
            <a:extLst>
              <a:ext uri="{FF2B5EF4-FFF2-40B4-BE49-F238E27FC236}">
                <a16:creationId xmlns:a16="http://schemas.microsoft.com/office/drawing/2014/main" id="{0A7B2C8C-0511-364F-88EC-07A6DFE862AA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Title 23">
            <a:extLst>
              <a:ext uri="{FF2B5EF4-FFF2-40B4-BE49-F238E27FC236}">
                <a16:creationId xmlns:a16="http://schemas.microsoft.com/office/drawing/2014/main" id="{DBD66D1A-0C25-3743-96E4-E9D4CA69E78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1" y="168310"/>
            <a:ext cx="10970377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BC4C6AE-41C6-1CC2-A42F-25C2EE01C6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76D29E3-A43A-56F2-A467-264924E0A9A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2E00029-8738-DB16-239C-207D2DCC08C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B1F1DE-B4AB-E735-907E-36EEA0CEFAA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58F0CAD-F38C-13A2-12C2-3CAD2475DBE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386A38A-E963-7417-9675-71EBA197FD1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9629AD-8F79-FE56-1339-27FF070A5C93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EC9697-41F6-731A-04D5-7AD2D19581E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E94BFA9-84E5-E860-EA37-F2BFCD586355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155E0E4-41D2-C564-D366-FA7A3F882AC5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F192CC-D203-7349-BD22-10FA31A4C676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E2969E-48D9-B9AB-6470-4ECB3AF00FD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274EA24-1080-0B89-6B4D-A3FCC576068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7E83E2B-555E-E8DB-0842-DA192D98125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2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544B17D-32E0-B201-21C7-497DFDE2ECE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436516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237D7AF-3724-7FB3-695A-EC0C5562BB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35517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5377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3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3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1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39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 userDrawn="1"/>
        </p:nvCxnSpPr>
        <p:spPr>
          <a:xfrm>
            <a:off x="486324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 userDrawn="1"/>
        </p:nvCxnSpPr>
        <p:spPr>
          <a:xfrm>
            <a:off x="3335032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 userDrawn="1"/>
        </p:nvCxnSpPr>
        <p:spPr>
          <a:xfrm>
            <a:off x="6207184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 userDrawn="1"/>
        </p:nvCxnSpPr>
        <p:spPr>
          <a:xfrm>
            <a:off x="9079339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bject 2">
            <a:extLst>
              <a:ext uri="{FF2B5EF4-FFF2-40B4-BE49-F238E27FC236}">
                <a16:creationId xmlns:a16="http://schemas.microsoft.com/office/drawing/2014/main" id="{81C8B496-17AD-854B-86A7-46CFE4A24FA1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2" y="168310"/>
            <a:ext cx="11119890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567F9A-4D2B-3E19-08D8-47A264DE46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91A76CC-1BCA-2DFB-E9F8-4E1283E1B14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0C5574A-1AAF-ECF7-8EEF-8C3EA962FBAF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BC7268-8C86-E531-E28D-303596A0CFC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B97BC75-5B9D-BB13-CFE5-8FB936300D0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07AFA52-3D42-BCAC-89FA-6525B6ADDCC9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51113B0-CFA5-A55C-B8D6-486A20922CA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79B4BCA-2FEF-27A2-76C4-05850F47BFD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EBFFC89-AC58-AA70-985F-F565A47681D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ABFFAF-CF96-84F9-C307-3652ECD98974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BF7400B-4F09-903F-3B6C-AEFA8935C55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BF62C9-BAE0-5761-317B-2A3E1B3EDD0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F36E62-A079-9BC9-710F-C6179C44F548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9BBB17E-1FB8-89FC-84DB-F8749D6735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632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E4BD2DA-8164-CCCF-2F79-1BCD6CC23A1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335031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2043910-358D-24A2-2269-3CA3EF579A19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20718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97CEFF0-425F-0206-B052-C17B4064CCD4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9079340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3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bject 2">
            <a:extLst>
              <a:ext uri="{FF2B5EF4-FFF2-40B4-BE49-F238E27FC236}">
                <a16:creationId xmlns:a16="http://schemas.microsoft.com/office/drawing/2014/main" id="{126C8BFA-8CF8-DD4D-A574-D97E28367D5B}"/>
              </a:ext>
            </a:extLst>
          </p:cNvPr>
          <p:cNvSpPr/>
          <p:nvPr userDrawn="1"/>
        </p:nvSpPr>
        <p:spPr>
          <a:xfrm>
            <a:off x="-9939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8109647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8D48D0B-58D4-874E-A7BB-FCE1D81EA330}"/>
              </a:ext>
            </a:extLst>
          </p:cNvPr>
          <p:cNvSpPr/>
          <p:nvPr userDrawn="1"/>
        </p:nvSpPr>
        <p:spPr>
          <a:xfrm>
            <a:off x="4027296" y="-7257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7E0320-F79C-3B46-BE17-03E29EFE275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46328" y="670181"/>
            <a:ext cx="10515600" cy="883666"/>
          </a:xfrm>
        </p:spPr>
        <p:txBody>
          <a:bodyPr>
            <a:noAutofit/>
          </a:bodyPr>
          <a:lstStyle>
            <a:lvl1pPr algn="ctr">
              <a:defRPr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21E6825-4ADB-4046-805F-23ADDDCA0E2B}"/>
              </a:ext>
            </a:extLst>
          </p:cNvPr>
          <p:cNvSpPr/>
          <p:nvPr userDrawn="1"/>
        </p:nvSpPr>
        <p:spPr>
          <a:xfrm>
            <a:off x="1751211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E787688-92FC-034B-9EE0-7D88C5556919}"/>
              </a:ext>
            </a:extLst>
          </p:cNvPr>
          <p:cNvCxnSpPr/>
          <p:nvPr userDrawn="1"/>
        </p:nvCxnSpPr>
        <p:spPr>
          <a:xfrm>
            <a:off x="1276350" y="309556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DEE947-0818-3245-A202-52BD0F5B8C08}"/>
              </a:ext>
            </a:extLst>
          </p:cNvPr>
          <p:cNvCxnSpPr/>
          <p:nvPr userDrawn="1"/>
        </p:nvCxnSpPr>
        <p:spPr>
          <a:xfrm>
            <a:off x="5318760" y="309556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0E9C8AC-8AD7-3940-8EF1-2CA30256A3AE}"/>
              </a:ext>
            </a:extLst>
          </p:cNvPr>
          <p:cNvCxnSpPr>
            <a:cxnSpLocks/>
          </p:cNvCxnSpPr>
          <p:nvPr userDrawn="1"/>
        </p:nvCxnSpPr>
        <p:spPr>
          <a:xfrm>
            <a:off x="9373584" y="310046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852D0E0-2963-6D41-B973-2FA101FBD6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87568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3CEE7091-C6CC-7E4E-982C-70CAE3B3A885}"/>
              </a:ext>
            </a:extLst>
          </p:cNvPr>
          <p:cNvSpPr/>
          <p:nvPr userDrawn="1"/>
        </p:nvSpPr>
        <p:spPr>
          <a:xfrm>
            <a:off x="5788448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sp>
        <p:nvSpPr>
          <p:cNvPr id="48" name="Text Placeholder 43">
            <a:extLst>
              <a:ext uri="{FF2B5EF4-FFF2-40B4-BE49-F238E27FC236}">
                <a16:creationId xmlns:a16="http://schemas.microsoft.com/office/drawing/2014/main" id="{6B80AD42-B019-154B-944C-39626896A7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34744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6B24090-F46C-7846-857E-10992A03ED7E}"/>
              </a:ext>
            </a:extLst>
          </p:cNvPr>
          <p:cNvSpPr/>
          <p:nvPr userDrawn="1"/>
        </p:nvSpPr>
        <p:spPr>
          <a:xfrm>
            <a:off x="9870797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518AB753-6316-3546-AF61-D6BFA84B9F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06933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294555-99A8-879D-49E2-99108115AE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7494" y="-11876"/>
            <a:ext cx="2054940" cy="15538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5FF7442-BE5C-D7B8-B267-8F53CB2381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2321" y="6631116"/>
            <a:ext cx="2324126" cy="10795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F9FD74F-65E5-9316-4325-3DA28D03B47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8E94C0-7F9D-36C3-2EBF-12537FD2689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03B0BA2-EEC0-17AE-FC03-5166353FD630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CD4E3F-DE0B-AF32-F056-F4FA09B7AD7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2A8F429-92F5-A07E-BC0C-76EFA2B0706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82595F3-2E9F-70D3-AD46-3AE7CC66C6D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EADCB5-2876-5916-5039-46CEE751192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93CC370-572F-E3D7-A9A4-FAE0B5CC90F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80836BA-77C6-6D77-44BB-EBBC32B3FB6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F23685-D19F-264A-ED72-A0C8185BF44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CB4F13E-405C-7762-19F4-63BF344B45F8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6DBF42-11B8-7077-E948-39D5BF99852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3" y="3323967"/>
            <a:ext cx="3053962" cy="2995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D1B08E2-03D4-0AF5-7FC1-BBCE75C56EF7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6516" y="3323967"/>
            <a:ext cx="3344091" cy="2995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E64CF58-E155-6AB4-5CAC-E05430657080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473749" y="3323967"/>
            <a:ext cx="3105859" cy="2995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90389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bject 2">
            <a:extLst>
              <a:ext uri="{FF2B5EF4-FFF2-40B4-BE49-F238E27FC236}">
                <a16:creationId xmlns:a16="http://schemas.microsoft.com/office/drawing/2014/main" id="{AF9EEA82-5990-F847-8B4D-E725893922FD}"/>
              </a:ext>
            </a:extLst>
          </p:cNvPr>
          <p:cNvSpPr/>
          <p:nvPr userDrawn="1"/>
        </p:nvSpPr>
        <p:spPr>
          <a:xfrm>
            <a:off x="47989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52" name="object 2">
            <a:extLst>
              <a:ext uri="{FF2B5EF4-FFF2-40B4-BE49-F238E27FC236}">
                <a16:creationId xmlns:a16="http://schemas.microsoft.com/office/drawing/2014/main" id="{15E19BCA-6990-FF4D-BF2F-57B5929A6AB4}"/>
              </a:ext>
            </a:extLst>
          </p:cNvPr>
          <p:cNvSpPr/>
          <p:nvPr userDrawn="1"/>
        </p:nvSpPr>
        <p:spPr>
          <a:xfrm>
            <a:off x="72881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53" name="object 2">
            <a:extLst>
              <a:ext uri="{FF2B5EF4-FFF2-40B4-BE49-F238E27FC236}">
                <a16:creationId xmlns:a16="http://schemas.microsoft.com/office/drawing/2014/main" id="{39124CAF-DA73-9D41-A0F0-4525946FEACF}"/>
              </a:ext>
            </a:extLst>
          </p:cNvPr>
          <p:cNvSpPr/>
          <p:nvPr userDrawn="1"/>
        </p:nvSpPr>
        <p:spPr>
          <a:xfrm>
            <a:off x="9764600" y="0"/>
            <a:ext cx="242740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54" name="object 2">
            <a:extLst>
              <a:ext uri="{FF2B5EF4-FFF2-40B4-BE49-F238E27FC236}">
                <a16:creationId xmlns:a16="http://schemas.microsoft.com/office/drawing/2014/main" id="{4913DA6F-DBCF-0141-B7AD-DBA48355ABDB}"/>
              </a:ext>
            </a:extLst>
          </p:cNvPr>
          <p:cNvSpPr/>
          <p:nvPr userDrawn="1"/>
        </p:nvSpPr>
        <p:spPr>
          <a:xfrm>
            <a:off x="0" y="0"/>
            <a:ext cx="23280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58" name="object 2">
            <a:extLst>
              <a:ext uri="{FF2B5EF4-FFF2-40B4-BE49-F238E27FC236}">
                <a16:creationId xmlns:a16="http://schemas.microsoft.com/office/drawing/2014/main" id="{E00BF257-0D6D-8141-A7E4-83D491757120}"/>
              </a:ext>
            </a:extLst>
          </p:cNvPr>
          <p:cNvSpPr/>
          <p:nvPr userDrawn="1"/>
        </p:nvSpPr>
        <p:spPr>
          <a:xfrm>
            <a:off x="23097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B31E5A3-020D-7E4F-A87B-5A45BF3BB613}"/>
              </a:ext>
            </a:extLst>
          </p:cNvPr>
          <p:cNvCxnSpPr>
            <a:cxnSpLocks/>
          </p:cNvCxnSpPr>
          <p:nvPr userDrawn="1"/>
        </p:nvCxnSpPr>
        <p:spPr>
          <a:xfrm>
            <a:off x="390593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D76473E-B6B4-964B-B0EC-72FDC57362A2}"/>
              </a:ext>
            </a:extLst>
          </p:cNvPr>
          <p:cNvCxnSpPr>
            <a:cxnSpLocks/>
          </p:cNvCxnSpPr>
          <p:nvPr userDrawn="1"/>
        </p:nvCxnSpPr>
        <p:spPr>
          <a:xfrm>
            <a:off x="2779874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57E0E07-3915-B04B-8AFC-0F7840CB2A08}"/>
              </a:ext>
            </a:extLst>
          </p:cNvPr>
          <p:cNvCxnSpPr>
            <a:cxnSpLocks/>
          </p:cNvCxnSpPr>
          <p:nvPr userDrawn="1"/>
        </p:nvCxnSpPr>
        <p:spPr>
          <a:xfrm>
            <a:off x="5308117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B8BAAAA-1FC8-504B-8F64-E895C8F23CD0}"/>
              </a:ext>
            </a:extLst>
          </p:cNvPr>
          <p:cNvCxnSpPr>
            <a:cxnSpLocks/>
          </p:cNvCxnSpPr>
          <p:nvPr userDrawn="1"/>
        </p:nvCxnSpPr>
        <p:spPr>
          <a:xfrm>
            <a:off x="7755482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2251DFE-9E58-6E44-BFE8-816852ACB3C8}"/>
              </a:ext>
            </a:extLst>
          </p:cNvPr>
          <p:cNvCxnSpPr>
            <a:cxnSpLocks/>
          </p:cNvCxnSpPr>
          <p:nvPr userDrawn="1"/>
        </p:nvCxnSpPr>
        <p:spPr>
          <a:xfrm>
            <a:off x="10243938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ED9459-6CCA-8A4F-925C-EE8B944C3E81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42321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E4C36B83-1666-F442-9A9A-8D7FD9AB45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625972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593A6492-91F9-0E4D-ADAB-7C1320DB190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5125568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EBBEBFD-0D8B-494F-9069-98CE3ACC2FD0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7605292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3D48B941-4416-AE48-89CF-A7CE72EFEE49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10052787" y="1500435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7" name="object 2">
            <a:extLst>
              <a:ext uri="{FF2B5EF4-FFF2-40B4-BE49-F238E27FC236}">
                <a16:creationId xmlns:a16="http://schemas.microsoft.com/office/drawing/2014/main" id="{8B9E3A6C-84CD-5A4B-B2CE-DB99E2473091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Title 23">
            <a:extLst>
              <a:ext uri="{FF2B5EF4-FFF2-40B4-BE49-F238E27FC236}">
                <a16:creationId xmlns:a16="http://schemas.microsoft.com/office/drawing/2014/main" id="{78D9CE9E-B3F6-B24C-9944-5A28362BC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10"/>
            <a:ext cx="10973168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7DF4CF9-0720-C7A8-7857-656B6E6A8B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2321" y="6631116"/>
            <a:ext cx="2324126" cy="10795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880969C-69F0-E43E-58BD-76BD54FA5FA0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ECFEB5-C0BF-6105-BCD2-40F24546456D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36158C1-BA68-2166-F026-431C5AE0C82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AEC3CA-0185-E21E-6609-9D555D68F95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7C3BB0-88A2-7968-068B-B0969F2F2FF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821DFD-57A1-8FB9-B369-197075341B9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38AE2C1-E623-5EE6-0414-416EA412B471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E70D2EB-7D43-972B-E169-4051CC56A66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964BDDF-D339-C22A-4529-2505C73A37E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6F5DA5C-04A8-3FF4-DAB9-257C1EB5F185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2CB375-78D0-8C24-F562-69DD8C6FBBF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5E6836-78BB-6962-915B-4707CF38BA6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4232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B19E118-8D46-AE57-D88A-ECEDCE03B101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261976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B5E2367-2020-3C66-2C7E-5CE83FBE2AEB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510896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9A0E608-FD0E-9A0F-CABF-7E3E6FC202C5}"/>
              </a:ext>
            </a:extLst>
          </p:cNvPr>
          <p:cNvSpPr>
            <a:spLocks noGrp="1"/>
          </p:cNvSpPr>
          <p:nvPr>
            <p:ph idx="35" hasCustomPrompt="1"/>
          </p:nvPr>
        </p:nvSpPr>
        <p:spPr>
          <a:xfrm>
            <a:off x="757784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26ACF40-11A0-189B-6DF9-36CBE5E16A35}"/>
              </a:ext>
            </a:extLst>
          </p:cNvPr>
          <p:cNvSpPr>
            <a:spLocks noGrp="1"/>
          </p:cNvSpPr>
          <p:nvPr>
            <p:ph idx="36" hasCustomPrompt="1"/>
          </p:nvPr>
        </p:nvSpPr>
        <p:spPr>
          <a:xfrm>
            <a:off x="1003656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46591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5" descr="A picture containing grass, outdoor, person&#10;&#10;Description automatically generated">
            <a:extLst>
              <a:ext uri="{FF2B5EF4-FFF2-40B4-BE49-F238E27FC236}">
                <a16:creationId xmlns:a16="http://schemas.microsoft.com/office/drawing/2014/main" id="{C18EF10D-95A8-E306-5175-31927E738C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5294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6" y="2142035"/>
            <a:ext cx="5167766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38D9F5-6642-5401-CF10-01A92AC1DD6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468EA4C-30F1-92FD-A752-45FD806B638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B677A3-C280-DB8A-7895-BBF6AB3955B5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5BE3DE4-90D8-AC9A-8492-214975A3F0DC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AB8160-AC3C-2447-E0B6-1378CA7DE89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9BAF25-0505-132B-3956-D8230AA92FC0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BFF70D-9CFE-6075-89A9-5D070BEDC40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46A3DF-DA90-2824-668E-5E28002E032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D5800F1-9369-76BB-3541-A79812603EE1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0AA3DC0-7F37-2A79-C7BB-04AD61D71DC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7627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1" descr="A picture containing person, cutting, plant, vegetable&#10;&#10;Description automatically generated">
            <a:extLst>
              <a:ext uri="{FF2B5EF4-FFF2-40B4-BE49-F238E27FC236}">
                <a16:creationId xmlns:a16="http://schemas.microsoft.com/office/drawing/2014/main" id="{A54BD8B4-3CF2-94C7-4816-7C37BC7CE2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  <a:p>
            <a:pPr lvl="0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DAC4D81-9432-ABA0-BC09-85551DD12F0A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EAA308-EF79-7F6E-9AD1-1473BB17FC1D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1FC4975-756A-DF2C-7ACE-4A14F71A1D2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C6F51D-D573-6D96-1180-C1F1BD268CD1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64BE917-472C-93CE-1291-1020A4AA2FA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9F78A31-231D-BE48-5E34-B59E1BC0B66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D5A784-1E79-C1F5-14F2-F0C91F2B96A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92CED24-E8EC-1DEE-0D80-23F09898381A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C6CCAB-6698-7C8A-ED1F-C074DE3B323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74FDAF5-C958-9BB4-D919-3F0A28EB9440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881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CEF2B4A-8D8A-9921-8B20-101701BF01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20" name="Picture 19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7D525D62-6F88-4E1C-DDCA-3069A179E5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6515154" cy="6858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7EB40FB-1164-79CB-79D7-1524D4C3B2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522F61-7AB0-BC8C-4E13-8BECE93AC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FBCD2ED-B4C5-B462-9A73-2116E09AD0F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560"/>
            <a:ext cx="5214876" cy="4513432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374CB85-67B5-E257-BF4E-EC7A8FB663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EEFA0D-DF3D-CE89-FE60-598006CAECA8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326ACE-97C8-16B8-2BB4-966A62E36AA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2EC330-8540-F574-3F43-B0CC5C51E73D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D0AC80-2A85-8389-7781-D2ACAE472C1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59A9E27-A09A-E72B-112D-FCE664AE90F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43FA9A-2B51-F1D1-159A-96558D3B7C86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02EAA39-754A-7E6F-CD96-E2887137756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F0E295-4B7D-6882-6B05-F68C467095F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002B6F-79EE-3A7E-1C92-9D8366CE262A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446F5D-7AAF-99DF-6095-ED40913CF34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D98835-C978-294E-BB3B-AC74182870B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C2A1283A-6C47-1ED3-0248-D7AE6215106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0036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7" descr="A picture containing tree, person, outdoor, person&#10;&#10;Description automatically generated">
            <a:extLst>
              <a:ext uri="{FF2B5EF4-FFF2-40B4-BE49-F238E27FC236}">
                <a16:creationId xmlns:a16="http://schemas.microsoft.com/office/drawing/2014/main" id="{B8298057-DE82-FC85-EE1C-F891D59A7D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1980BA0-F4CC-2F4D-9FC7-D12504A215C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061C82A-F62E-F146-D5D2-22F8373BE70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2CECD6-04D8-8F0D-1556-5ECC323860C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FA47EB-7533-F0EB-7E7B-25F157C2E08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C52836-20AD-3E5E-104F-5E6DCE1E8BD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F5504C-E0B3-64A5-4096-159AA94FBAC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DBE7A4-D068-5592-193B-774DB45899D7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F2727F2-FC5D-78C0-F1B9-F39B017CBA4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5DB757-F9B2-AA75-7D61-74C43CC93D7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B75CBD-A5DF-53AE-547F-B08FE23E449F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1758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ttern_Text_Imag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room with a table and chairs&#10;&#10;Description automatically generated with medium confidence">
            <a:extLst>
              <a:ext uri="{FF2B5EF4-FFF2-40B4-BE49-F238E27FC236}">
                <a16:creationId xmlns:a16="http://schemas.microsoft.com/office/drawing/2014/main" id="{913A3D69-1DE2-BA52-BBE3-044E32763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78"/>
          <a:stretch/>
        </p:blipFill>
        <p:spPr>
          <a:xfrm>
            <a:off x="5704449" y="0"/>
            <a:ext cx="6486846" cy="688175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1980BA0-F4CC-2F4D-9FC7-D12504A215C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061C82A-F62E-F146-D5D2-22F8373BE70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2CECD6-04D8-8F0D-1556-5ECC323860C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FA47EB-7533-F0EB-7E7B-25F157C2E08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C52836-20AD-3E5E-104F-5E6DCE1E8BD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F5504C-E0B3-64A5-4096-159AA94FBAC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DBE7A4-D068-5592-193B-774DB45899D7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F2727F2-FC5D-78C0-F1B9-F39B017CBA4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5DB757-F9B2-AA75-7D61-74C43CC93D7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B75CBD-A5DF-53AE-547F-B08FE23E449F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0765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7" descr="A picture containing person, outdoor, solar cell, outdoor object&#10;&#10;Description automatically generated">
            <a:extLst>
              <a:ext uri="{FF2B5EF4-FFF2-40B4-BE49-F238E27FC236}">
                <a16:creationId xmlns:a16="http://schemas.microsoft.com/office/drawing/2014/main" id="{259430CB-4F3C-D247-F49C-2B37E33F23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37F6E36-F8F8-F843-063A-84931F7773EA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8E3AA9-5962-9473-7645-7BEB013433D9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6D84388-3F4F-25B2-B3D5-0AA8ADF6A569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2C1296-DA13-AC2A-93EE-3F368B43D38C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E0388D2-CBFA-F6A8-B106-372FC3B8456B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B3F081-0AF3-4167-C39E-3C5050EB49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3CF6FA-E1AD-C5BD-66CF-5A71C390229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4D1C81-92AE-E36C-6449-60C6AFBB33E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BFDCE-0ACB-5474-D1E7-49CAA437041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931D424-3371-E659-3557-02D7DFC15D1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6945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8" descr="A person holding a banana&#10;&#10;Description automatically generated with medium confidence">
            <a:extLst>
              <a:ext uri="{FF2B5EF4-FFF2-40B4-BE49-F238E27FC236}">
                <a16:creationId xmlns:a16="http://schemas.microsoft.com/office/drawing/2014/main" id="{EA9A6640-C84F-5A74-8412-924D1500A6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6" y="2142035"/>
            <a:ext cx="5167766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F0F0048-6C8D-7881-DD03-E710C514FFB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3BD74D-7F42-7AAA-5B4C-4731849485E5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06D6D6-7BAB-8220-615B-73C7F2AF476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80DEAA-5409-40EA-89DB-D10D724909A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63B611-096C-A87C-763C-E1923CBF09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AE05D23-A50C-3444-D19B-11803776FD4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AE1BC7-A4BE-0803-80F9-3F7568DE51D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93A00E-259E-2BE5-795D-29BA529EC01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485D10-AE20-415F-7066-FDB91E1C2FE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5998055-DFDD-BE62-910C-EAD84A796DF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9586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5A8E4F6-1894-77A0-2CE3-95A94C1F37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8966" y="5485931"/>
            <a:ext cx="4283034" cy="16161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8D175BA-52D5-4F17-0EE7-784CFB789A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82FF431-011F-065B-7635-3B0775D76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82660"/>
            <a:ext cx="9053536" cy="909493"/>
          </a:xfrm>
        </p:spPr>
        <p:txBody>
          <a:bodyPr>
            <a:normAutofit/>
          </a:bodyPr>
          <a:lstStyle>
            <a:lvl1pPr>
              <a:defRPr sz="4000">
                <a:solidFill>
                  <a:srgbClr val="143DCF"/>
                </a:solidFill>
                <a:latin typeface="+mn-lt"/>
              </a:defRPr>
            </a:lvl1pPr>
          </a:lstStyle>
          <a:p>
            <a:r>
              <a:rPr lang="en-US"/>
              <a:t>Your Title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4CF03F9-CCF4-96AE-8B45-2355FC415B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5737" y="1470453"/>
            <a:ext cx="9053536" cy="698500"/>
          </a:xfrm>
        </p:spPr>
        <p:txBody>
          <a:bodyPr>
            <a:normAutofit/>
          </a:bodyPr>
          <a:lstStyle>
            <a:lvl1pPr marL="0" indent="0">
              <a:buNone/>
              <a:defRPr sz="2800" b="0" i="0">
                <a:solidFill>
                  <a:srgbClr val="143DCF"/>
                </a:solidFill>
                <a:latin typeface="+mj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4D9D17C-9524-6BEF-CF6C-A919225A046A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3D83AB3-9AA2-719C-C570-5EE9D851A47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7EBA05-7D13-4F9E-288A-885510462A4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AFBA32-3C18-8B2C-D7A5-0D90858D5882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0602411-09B0-77D6-A104-890436EF9355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E3A570A-65CD-F75D-6902-90515431D59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475AFB-9996-B4B5-CD29-64048A6DCE5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B8F73E-803E-DCCC-5754-C5E8685FE88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D51C619-AFD1-BE75-3F5D-7C54EB750DD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BE4D7D-F752-1FE1-4383-11EEBB02B314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screenshot of a video game&#10;&#10;Description automatically generated with medium confidence">
            <a:extLst>
              <a:ext uri="{FF2B5EF4-FFF2-40B4-BE49-F238E27FC236}">
                <a16:creationId xmlns:a16="http://schemas.microsoft.com/office/drawing/2014/main" id="{81C28E8A-BDB9-EAFD-A709-096057EC9BC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5485" y="115210"/>
            <a:ext cx="3086332" cy="1266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841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3" name="Picture 2" descr="A hand holding a bottle of water&#10;&#10;Description automatically generated with medium confidence">
            <a:extLst>
              <a:ext uri="{FF2B5EF4-FFF2-40B4-BE49-F238E27FC236}">
                <a16:creationId xmlns:a16="http://schemas.microsoft.com/office/drawing/2014/main" id="{BE597E7F-AA54-B8B8-06DB-4C82A26BA6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6"/>
          <a:stretch/>
        </p:blipFill>
        <p:spPr>
          <a:xfrm>
            <a:off x="-18492" y="-5642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  <a:p>
            <a:pPr lvl="0"/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918738C-0866-70C9-A425-B3D16DBBB117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F4A8BB-23B4-0E60-2AE4-0311F04F49E8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4466485-941E-37BB-C00E-F591177E458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AD85D5-2F1E-2411-A352-A2DB424AF7D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683FF1-71D0-C05C-CCF2-C1AE7C91D43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64E530-99BD-7008-8BD8-B1AD053D154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FA1415-C381-0079-6795-E5233A4859C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B526404-6F99-F9E8-B86D-1F2EB76C59F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D5C9550-AC32-4219-D43D-89E9E963148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07EC87-B9A7-22A6-C11F-794789EC9B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994F5A0-762B-71F2-E4DC-A65933A906E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656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5" name="Picture Placeholder 7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03576E69-16F4-B92B-7B54-9BEE75F24B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699" y="-11875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ACBA6-ED65-A075-044C-157A3988DD07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AE46624-2FA3-56AA-9BD0-FF8CB5E4BD2D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C3C414-B487-C8A2-4445-41D6D9D0D375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D39112-F0E7-0B91-7929-FE00D63CAE9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B9E8579-48C2-2E27-D8CD-3FD603AF3E9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8F0CAF1-9EE9-7F5E-78E5-A28ABA0327AB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626093-BE99-B01B-62CE-8F1A9236329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B609DAE-21F9-FF37-AD1B-731C36FEEFD7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FEA3C0-D3BB-9334-6ECB-2098DCC534E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0C08860-FC6F-13D4-FCEB-22578524D5C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B61DE1-B8DE-A1D8-F6B9-266715364BD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3154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3" name="Picture Placeholder 7" descr="A group of wind turbines&#10;&#10;Description automatically generated with medium confidence">
            <a:extLst>
              <a:ext uri="{FF2B5EF4-FFF2-40B4-BE49-F238E27FC236}">
                <a16:creationId xmlns:a16="http://schemas.microsoft.com/office/drawing/2014/main" id="{C8006515-9A3F-B158-5428-4C2587C011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699" y="0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3D0D38A-6EBD-BF79-3C0C-08D0E4B6262F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500C7E-3B8D-6452-B8BD-4BFD7805BF8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2D7CB1-3CF4-8473-2267-F949407E3E0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7EC090-2587-1BAB-19CA-BC07204050B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C93B9C-487F-6859-AAC3-53673ABFFAF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6D9581-F37B-491C-F59B-7E5849AEAE2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39B8B3-8FB9-029C-F577-8D4DC8F3E0A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4E068C2-145E-5214-733F-D4730E748233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8A0F40-88B8-C05F-A59F-DA9E08D557D3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2184F96-E786-821D-FDDE-B94293C232E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1A186D1-D319-272A-392B-2D4BB8363F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487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5" name="Picture Placeholder 6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20A3125E-709A-54FF-CDE1-E6ED61823D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12699" y="0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512C78B-4DD2-2DB2-C048-906F06F1D2C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6602411-BC12-709F-5792-1CF5348A4E6D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37D445-B98A-2797-753E-053486510E8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BC16B31-ACEF-6410-265F-10670599331D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8B0A1AD-951D-0EA8-3F15-9606E35A32E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FC1457-77F8-0B27-1CF3-04CEE71295C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FC750D-6868-4EA4-CBD7-2E9F4A64EF2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6E62E3-EA46-C6F5-5D6C-5C4F8D72665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C1F35D8-E021-1AE9-DD84-41A7B5F1F61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9103FAE-F5D5-DFA8-8777-C67F9FC1FC6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B1E62C-0A52-B03D-3506-77902CDAC06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003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_Image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7D2CC8C-D086-E69D-76FA-44C11EF056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DA1A9E-835C-A69B-4927-8B6D1AA2BEA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F18EC8C-7662-B711-CAA5-E1D541524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823" y="719168"/>
            <a:ext cx="4335318" cy="90949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382EA-2EA4-B1C3-F91F-FA266352C8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4" y="1791479"/>
            <a:ext cx="4421226" cy="412814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DCFD9D5-3279-1C0B-5E04-A2BBCA0E039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181214" y="-73753"/>
            <a:ext cx="10449184" cy="698316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8338DD5-F8E2-54AA-B735-D48D9332621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14050" y="0"/>
            <a:ext cx="4658264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971ACDC-5FDF-95DA-42D4-1B68F7AE626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E3D7FD-266D-09A2-7054-51092402DE7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8C3529-3A0E-5A61-10BE-D5C40257A56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B5AA4D-E42A-CEEE-BA48-EF023D8FFE43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1A2A76-F80F-9C68-9263-78BAC1CD1B89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1BCB31-A2CB-5406-1D8D-B9D77A112200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03EEA1-B4F5-485B-DAB5-756F28DE58F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6365B9-478F-1D2F-909D-FCD4ED8F224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FA46F2-87F6-642E-DCF4-FDD22AF9892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945D017-FB52-0351-F7AC-712BD744162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370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3" name="Picture Placeholder 10">
            <a:extLst>
              <a:ext uri="{FF2B5EF4-FFF2-40B4-BE49-F238E27FC236}">
                <a16:creationId xmlns:a16="http://schemas.microsoft.com/office/drawing/2014/main" id="{419BF2AC-5B85-C3CE-EE00-152E94FDE2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0313" y="-2780"/>
            <a:ext cx="6483963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80"/>
            <a:ext cx="5214876" cy="45134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AB5392-5704-E04E-E747-29A8663275E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CBC5A7-1EC6-EB25-52D6-D1B99B6B0FE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7A1CE9-4B2A-D4B3-92BC-789F541A4B6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530835-A7B3-DA57-0B5D-08A7B65C967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4FF597-37A2-9012-9F5C-6E3608EFF9A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475DC4-DFE2-242E-070E-AD22EA26489C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92DA2D-652A-3FCC-1F7C-16919CA77FE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E1A11F-7269-D682-6CDB-1D1CEDC3DF6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331122F-F80D-B9E9-845C-1CA786BA955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363F9FB-9A84-2F9D-4951-A7000F923CE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A10105-6CE0-7743-DA10-E3A203AAC3B0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4F55446-AB3C-1BD6-D67F-3A7019358F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A176BA80-2924-3690-AEF4-7AB56ACFC1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8DBF978-C9B6-8ADE-7C85-09150467A1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5" name="Picture 4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9A2EAAB6-6AAC-E655-2BE4-D3F181F9D42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4471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_Image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7D2CC8C-D086-E69D-76FA-44C11EF056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25F814B-27CF-808E-CCB6-2EB1B0274DE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35603" y="-320633"/>
            <a:ext cx="11751512" cy="78322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DA1A9E-835C-A69B-4927-8B6D1AA2BEA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F18EC8C-7662-B711-CAA5-E1D541524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823" y="719168"/>
            <a:ext cx="4335318" cy="90949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382EA-2EA4-B1C3-F91F-FA266352C8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4" y="1791479"/>
            <a:ext cx="4421226" cy="412814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338DD5-F8E2-54AA-B735-D48D9332621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14050" y="0"/>
            <a:ext cx="4658264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BCD5E67-0949-70E2-4EE3-A020D7DA6C4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C36EA9-C765-4B3F-FA81-EE9D8F92C8B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A165CC4-E468-124A-EC3E-17459D93E84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897FF5-4834-1D9E-B64F-04F20B18F5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534DFB0-995D-AAC8-38B7-E7E87F655FB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8B708A-2170-2E29-89C3-EA1F491C986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D5C75-5F88-B5FC-88B5-05C040E08A94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DB02D0-710D-891F-72D7-0780CD88288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BA7D715-197C-A667-4CA6-59FFE6D7BAB5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810EB9-08A0-9995-CD9F-9E329244DF3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9116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_Image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7D2CC8C-D086-E69D-76FA-44C11EF056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DA1A9E-835C-A69B-4927-8B6D1AA2BEA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F18EC8C-7662-B711-CAA5-E1D541524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823" y="719168"/>
            <a:ext cx="4335318" cy="90949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382EA-2EA4-B1C3-F91F-FA266352C8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4" y="1791479"/>
            <a:ext cx="4421226" cy="412814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F7FB10-D837-4EF2-424B-6077A7E8B15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199621" y="-364696"/>
            <a:ext cx="11046469" cy="737707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8338DD5-F8E2-54AA-B735-D48D9332621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14050" y="0"/>
            <a:ext cx="4658264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45B158E-D345-CA93-3C0B-E40CF6D728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994A80-8B9D-AA51-DD05-4943F7503F9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1B00C5-0B1A-A28F-329A-185D4984EF0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FF20F5-6A0A-A83E-F488-B396E016A5D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BC471A-2A6D-446A-306B-8D59BB0B3F0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6CFF13D-1CAA-A1D4-735D-EADE3F4C8E55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EE7CDA1-7D12-2F04-2592-AD4FACA553A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1AE982-8F47-7F52-D388-07E6F58DE65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C5EC51-037B-9973-795F-05D5653ECF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34406F4-4B8B-2B42-D980-B8AE7ACBC2A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3226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odby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618064-0F66-BAAA-B4E0-0AC4C5D475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61D3EAD-6CD0-91BC-3B78-754BB6A067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679" y="3552134"/>
            <a:ext cx="8550255" cy="608864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77EEE86-88B9-8808-CCE5-9E257901E6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679" y="4209738"/>
            <a:ext cx="8550255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Subtile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0B9D558-03B9-1ABA-0F94-47A7A65092E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9863" y="2615623"/>
            <a:ext cx="4882137" cy="424237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A5D16CC-EF58-27CF-BFEF-0C27AFAC5D8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BB2E3CA-7552-A012-1870-4397459C7C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10D44A-EB7C-7973-36FA-F975B7324E4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D670526-1979-579A-A409-95484C4875B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4C72DFD-D886-24BD-6230-886F82DE16A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E99B4D-21B0-8531-F323-F63E0C2EB473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A44CC03-7A96-8CAB-310A-886735E9B79C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7A176D-195A-FEE7-B890-611A264398C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E56D298-0D65-C9D0-AB7A-EADBAC2AB66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4E678CD-DFE7-E032-BDCB-09624B153D8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984EAAC-F7C7-EE92-59FC-32F6C27CDB5C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FC7A50D9-B630-28EB-D082-1D57B9D156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8320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8639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s 3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8109647" y="0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8D48D0B-58D4-874E-A7BB-FCE1D81EA330}"/>
              </a:ext>
            </a:extLst>
          </p:cNvPr>
          <p:cNvSpPr/>
          <p:nvPr userDrawn="1"/>
        </p:nvSpPr>
        <p:spPr>
          <a:xfrm>
            <a:off x="4027296" y="0"/>
            <a:ext cx="4082352" cy="6858000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algn="ctr"/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8A25AA2-46CF-1D75-674A-2F5F6448A0B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F34C85-87CB-CC6F-A2C8-9F0BD60AF9C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3A80E6-B572-07A1-C8A9-5F1450819E6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8BB134-C9BE-5C29-71BB-48F045B520E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70F6F6-6A6F-AD07-4335-7BA30C1FDC1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D7B21A-979E-2673-E16C-0A3F276A67D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8D8BB2-685E-A5F6-90C0-616C798CD65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3169A2-8799-ED03-DCD7-6B5C54FF48B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F27A52F-08BE-2F13-F71D-1082D7F1488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166267B-380A-3666-2BE9-A3CB5CB1688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EF109CAA-CC5B-040A-852B-E4215071E3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7296" y="2804177"/>
            <a:ext cx="4185609" cy="1687121"/>
          </a:xfrm>
          <a:prstGeom prst="rect">
            <a:avLst/>
          </a:prstGeom>
        </p:spPr>
      </p:pic>
      <p:pic>
        <p:nvPicPr>
          <p:cNvPr id="11" name="Picture 10" descr="Logo, company name&#10;&#10;Description automatically generated">
            <a:extLst>
              <a:ext uri="{FF2B5EF4-FFF2-40B4-BE49-F238E27FC236}">
                <a16:creationId xmlns:a16="http://schemas.microsoft.com/office/drawing/2014/main" id="{12B707BE-D4E5-832A-AAE0-F8EFA95539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09" y="2879124"/>
            <a:ext cx="4383762" cy="1766993"/>
          </a:xfrm>
          <a:prstGeom prst="rect">
            <a:avLst/>
          </a:prstGeom>
        </p:spPr>
      </p:pic>
      <p:pic>
        <p:nvPicPr>
          <p:cNvPr id="20" name="Picture 19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E8E3DAFC-7A9E-FCE1-D71C-A0E1F1D304D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6948" y="2800929"/>
            <a:ext cx="4185606" cy="1687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8561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89FC93A2-116A-4043-A08A-70DACBFC98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931" y="1668026"/>
            <a:ext cx="3240594" cy="3240594"/>
          </a:xfrm>
          <a:prstGeom prst="rect">
            <a:avLst/>
          </a:prstGeom>
        </p:spPr>
      </p:pic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E793A380-0825-AA49-9D61-F2A67DD12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6475" y="1668026"/>
            <a:ext cx="3240594" cy="3240594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197DB6B1-D1BE-FB4A-ACF1-76FB8564F44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5703" y="1668026"/>
            <a:ext cx="3240594" cy="324059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8283F43-D135-1B03-81D0-DA32CCF40D0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96EFFF-1352-22DB-27D9-B66196031021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10D126-9184-8D21-08CC-C89F3FA3285E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E18CF8A-77CC-50E0-07B5-204A0F2057C1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1DD3F9-9717-B911-5E3B-C8C86ACADE95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E5D102-6EFE-D768-920B-E34375052A3B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BA59CE-6FEB-84D8-75D1-13A2112C4C8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209B78-0B65-3383-65A2-47D1FD8F0AF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F88EB9-07AB-0619-B2F1-4E85DA67C6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7D2A894-8743-B412-41F7-6510C125B04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6355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8105402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1165" y="3376933"/>
            <a:ext cx="3587051" cy="334962"/>
          </a:xfrm>
        </p:spPr>
        <p:txBody>
          <a:bodyPr/>
          <a:lstStyle>
            <a:lvl1pPr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1102" y="3882109"/>
            <a:ext cx="3345069" cy="334962"/>
          </a:xfrm>
        </p:spPr>
        <p:txBody>
          <a:bodyPr/>
          <a:lstStyle>
            <a:lvl1pPr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165" y="2156693"/>
            <a:ext cx="3811904" cy="932688"/>
          </a:xfrm>
        </p:spPr>
        <p:txBody>
          <a:bodyPr>
            <a:noAutofit/>
          </a:bodyPr>
          <a:lstStyle>
            <a:lvl1pPr marL="7938" indent="-7938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epsiCo Positive</a:t>
            </a:r>
          </a:p>
          <a:p>
            <a:pPr lvl="0"/>
            <a:r>
              <a:rPr lang="en-US"/>
              <a:t>Template</a:t>
            </a:r>
          </a:p>
        </p:txBody>
      </p:sp>
      <p:pic>
        <p:nvPicPr>
          <p:cNvPr id="9" name="Picture Placeholder 8" descr="A row of wind turbines&#10;&#10;Description automatically generated with low confidence">
            <a:extLst>
              <a:ext uri="{FF2B5EF4-FFF2-40B4-BE49-F238E27FC236}">
                <a16:creationId xmlns:a16="http://schemas.microsoft.com/office/drawing/2014/main" id="{ECCBDA21-3720-EC48-BB2A-E186AD6135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4288" y="0"/>
            <a:ext cx="7526731" cy="6869788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CF808A19-85E5-7240-A188-D33E5B6857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073" y="4644994"/>
            <a:ext cx="3895609" cy="18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006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19" name="object 2"/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3"/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B4B6F706-AD1F-B640-B628-5D2672D7B801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A627395-BAE1-1A4D-B94B-ACBDB056D943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390EAEA-953C-46BE-896B-6313BDDDAE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1" y="1274778"/>
            <a:ext cx="10952148" cy="4810836"/>
          </a:xfrm>
        </p:spPr>
        <p:txBody>
          <a:bodyPr>
            <a:noAutofit/>
          </a:bodyPr>
          <a:lstStyle>
            <a:lvl1pPr marL="114300" indent="-1143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tabLst/>
              <a:defRPr sz="20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marR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ourier New" panose="02070309020205020404" pitchFamily="49" charset="0"/>
              <a:buChar char="o"/>
              <a:tabLst/>
              <a:defRPr sz="16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marL="1090613" marR="0" lvl="2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5546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8105402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1165" y="3376933"/>
            <a:ext cx="3587051" cy="334962"/>
          </a:xfrm>
        </p:spPr>
        <p:txBody>
          <a:bodyPr/>
          <a:lstStyle>
            <a:lvl1pPr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1102" y="3882109"/>
            <a:ext cx="3345069" cy="334962"/>
          </a:xfrm>
        </p:spPr>
        <p:txBody>
          <a:bodyPr/>
          <a:lstStyle>
            <a:lvl1pPr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165" y="2156693"/>
            <a:ext cx="3811904" cy="932688"/>
          </a:xfrm>
        </p:spPr>
        <p:txBody>
          <a:bodyPr>
            <a:noAutofit/>
          </a:bodyPr>
          <a:lstStyle>
            <a:lvl1pPr marL="7938" indent="-7938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epsiCo Positive</a:t>
            </a:r>
          </a:p>
          <a:p>
            <a:pPr lvl="0"/>
            <a:r>
              <a:rPr lang="en-US"/>
              <a:t>Template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8FB9A419-EFD6-D543-8D2D-13D26EFCD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073" y="4644994"/>
            <a:ext cx="3895609" cy="18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4659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8105402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1165" y="3376933"/>
            <a:ext cx="3587051" cy="334962"/>
          </a:xfrm>
        </p:spPr>
        <p:txBody>
          <a:bodyPr/>
          <a:lstStyle>
            <a:lvl1pPr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1102" y="3882109"/>
            <a:ext cx="3345069" cy="334962"/>
          </a:xfrm>
        </p:spPr>
        <p:txBody>
          <a:bodyPr/>
          <a:lstStyle>
            <a:lvl1pPr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165" y="2156693"/>
            <a:ext cx="3811904" cy="932688"/>
          </a:xfrm>
        </p:spPr>
        <p:txBody>
          <a:bodyPr>
            <a:noAutofit/>
          </a:bodyPr>
          <a:lstStyle>
            <a:lvl1pPr marL="7938" indent="-7938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epsiCo Positive</a:t>
            </a:r>
          </a:p>
          <a:p>
            <a:pPr lvl="0"/>
            <a:r>
              <a:rPr lang="en-US"/>
              <a:t>Template</a:t>
            </a:r>
          </a:p>
        </p:txBody>
      </p:sp>
      <p:pic>
        <p:nvPicPr>
          <p:cNvPr id="8" name="Picture Placeholder 8" descr="A row of wind turbines&#10;&#10;Description automatically generated with low confidence">
            <a:extLst>
              <a:ext uri="{FF2B5EF4-FFF2-40B4-BE49-F238E27FC236}">
                <a16:creationId xmlns:a16="http://schemas.microsoft.com/office/drawing/2014/main" id="{16B29B53-D338-2F43-98D4-D9BE3196ED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4289" y="0"/>
            <a:ext cx="7526731" cy="6858000"/>
          </a:xfrm>
          <a:prstGeom prst="rect">
            <a:avLst/>
          </a:prstGeom>
        </p:spPr>
      </p:pic>
      <p:sp>
        <p:nvSpPr>
          <p:cNvPr id="26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-34288" y="11788"/>
            <a:ext cx="7526731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pic>
        <p:nvPicPr>
          <p:cNvPr id="5" name="Picture 4" descr="A field of wheat&#10;&#10;Description automatically generated with low confidence">
            <a:extLst>
              <a:ext uri="{FF2B5EF4-FFF2-40B4-BE49-F238E27FC236}">
                <a16:creationId xmlns:a16="http://schemas.microsoft.com/office/drawing/2014/main" id="{4D80C582-45B7-B44A-9302-CBE5B8CDD7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4289" y="0"/>
            <a:ext cx="7526732" cy="6858000"/>
          </a:xfrm>
          <a:prstGeom prst="rect">
            <a:avLst/>
          </a:prstGeom>
        </p:spPr>
      </p:pic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300F8038-07AD-D74D-B60A-B27469049C4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073" y="4644994"/>
            <a:ext cx="3895609" cy="18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7959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8105402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1165" y="3376933"/>
            <a:ext cx="3587051" cy="334962"/>
          </a:xfrm>
        </p:spPr>
        <p:txBody>
          <a:bodyPr/>
          <a:lstStyle>
            <a:lvl1pPr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1102" y="3882109"/>
            <a:ext cx="3345069" cy="334962"/>
          </a:xfrm>
        </p:spPr>
        <p:txBody>
          <a:bodyPr/>
          <a:lstStyle>
            <a:lvl1pPr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165" y="2156693"/>
            <a:ext cx="3811904" cy="932688"/>
          </a:xfrm>
        </p:spPr>
        <p:txBody>
          <a:bodyPr>
            <a:noAutofit/>
          </a:bodyPr>
          <a:lstStyle>
            <a:lvl1pPr marL="7938" indent="-7938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epsiCo Positive</a:t>
            </a:r>
          </a:p>
          <a:p>
            <a:pPr lvl="0"/>
            <a:r>
              <a:rPr lang="en-US"/>
              <a:t>Template</a:t>
            </a:r>
          </a:p>
        </p:txBody>
      </p:sp>
      <p:pic>
        <p:nvPicPr>
          <p:cNvPr id="10" name="Picture 9" descr="A picture containing tree, green, plant, broccoli&#10;&#10;Description automatically generated">
            <a:extLst>
              <a:ext uri="{FF2B5EF4-FFF2-40B4-BE49-F238E27FC236}">
                <a16:creationId xmlns:a16="http://schemas.microsoft.com/office/drawing/2014/main" id="{C0BBEF17-CCF4-44A9-8BE8-126ABA4890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-34288" y="0"/>
            <a:ext cx="7526731" cy="6846212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321D46E2-614D-CF4E-9C75-EC407239DA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073" y="4644994"/>
            <a:ext cx="3895609" cy="18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757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10" descr="A person standing next to a refrigerator&#10;&#10;Description automatically generated with medium confidence">
            <a:extLst>
              <a:ext uri="{FF2B5EF4-FFF2-40B4-BE49-F238E27FC236}">
                <a16:creationId xmlns:a16="http://schemas.microsoft.com/office/drawing/2014/main" id="{646B3363-2589-6D20-01EA-720CE2264B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14"/>
          <a:stretch/>
        </p:blipFill>
        <p:spPr>
          <a:xfrm>
            <a:off x="0" y="-3225"/>
            <a:ext cx="6464459" cy="68552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DB313A18-5181-B996-E36C-132A8A978F4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7236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-34288" y="11788"/>
            <a:ext cx="7526731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pic>
        <p:nvPicPr>
          <p:cNvPr id="22" name="Picture 21" descr="A picture containing tree, green, plant, broccoli&#10;&#10;Description automatically generated">
            <a:extLst>
              <a:ext uri="{FF2B5EF4-FFF2-40B4-BE49-F238E27FC236}">
                <a16:creationId xmlns:a16="http://schemas.microsoft.com/office/drawing/2014/main" id="{CC4B1EF9-824D-7B41-B73A-E5F998445F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-34288" y="0"/>
            <a:ext cx="7526731" cy="6846212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0EA1D140-CD4D-D947-9BB0-6762454481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073" y="4644994"/>
            <a:ext cx="3895609" cy="18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529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5" name="Picture 4" descr="Shape&#10;&#10;Description automatically generated">
            <a:extLst>
              <a:ext uri="{FF2B5EF4-FFF2-40B4-BE49-F238E27FC236}">
                <a16:creationId xmlns:a16="http://schemas.microsoft.com/office/drawing/2014/main" id="{4E7D94B0-F89E-124C-9342-F2D79E56E8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>
            <a:off x="-34287" y="0"/>
            <a:ext cx="3425828" cy="3429000"/>
          </a:xfrm>
          <a:prstGeom prst="rect">
            <a:avLst/>
          </a:prstGeom>
        </p:spPr>
      </p:pic>
      <p:pic>
        <p:nvPicPr>
          <p:cNvPr id="9" name="Picture 8" descr="Diagram, venn diagram&#10;&#10;Description automatically generated">
            <a:extLst>
              <a:ext uri="{FF2B5EF4-FFF2-40B4-BE49-F238E27FC236}">
                <a16:creationId xmlns:a16="http://schemas.microsoft.com/office/drawing/2014/main" id="{1ED6D30F-6EB1-E940-972C-5C415573E1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541" y="0"/>
            <a:ext cx="3425828" cy="3429000"/>
          </a:xfrm>
          <a:prstGeom prst="rect">
            <a:avLst/>
          </a:prstGeom>
        </p:spPr>
      </p:pic>
      <p:pic>
        <p:nvPicPr>
          <p:cNvPr id="11" name="Picture 10" descr="Chart, pie chart&#10;&#10;Description automatically generated">
            <a:extLst>
              <a:ext uri="{FF2B5EF4-FFF2-40B4-BE49-F238E27FC236}">
                <a16:creationId xmlns:a16="http://schemas.microsoft.com/office/drawing/2014/main" id="{3C584B47-FF61-1E42-880C-6325350EB38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4288" y="3429000"/>
            <a:ext cx="3425827" cy="3428999"/>
          </a:xfrm>
          <a:prstGeom prst="rect">
            <a:avLst/>
          </a:prstGeom>
        </p:spPr>
      </p:pic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D472BBD1-1FDB-234E-AAC1-6FF28BCB9B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540" y="3428997"/>
            <a:ext cx="3425831" cy="3429003"/>
          </a:xfrm>
          <a:prstGeom prst="rect">
            <a:avLst/>
          </a:prstGeom>
        </p:spPr>
      </p:pic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7648609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4372" y="3376933"/>
            <a:ext cx="3587051" cy="334962"/>
          </a:xfrm>
        </p:spPr>
        <p:txBody>
          <a:bodyPr/>
          <a:lstStyle>
            <a:lvl1pPr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34309" y="3882109"/>
            <a:ext cx="3345069" cy="334962"/>
          </a:xfrm>
        </p:spPr>
        <p:txBody>
          <a:bodyPr/>
          <a:lstStyle>
            <a:lvl1pPr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34372" y="2156693"/>
            <a:ext cx="3811904" cy="932688"/>
          </a:xfrm>
        </p:spPr>
        <p:txBody>
          <a:bodyPr>
            <a:noAutofit/>
          </a:bodyPr>
          <a:lstStyle>
            <a:lvl1pPr marL="7938" indent="-7938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epsiCo Positive</a:t>
            </a:r>
          </a:p>
          <a:p>
            <a:pPr lvl="0"/>
            <a:r>
              <a:rPr lang="en-US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71044201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2"/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B4B6F706-AD1F-B640-B628-5D2672D7B801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A627395-BAE1-1A4D-B94B-ACBDB056D943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6D40EB1-E54E-3D43-82D2-2C0B316D0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1" y="1274778"/>
            <a:ext cx="10952148" cy="481083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800"/>
              </a:spcBef>
              <a:tabLst/>
              <a:defRPr sz="2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804863" marR="0" indent="-347663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28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marL="1090613" marR="0" lvl="2" indent="-347663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084A86BC-9CF0-402C-84A3-5B1C293C6D19}"/>
              </a:ext>
            </a:extLst>
          </p:cNvPr>
          <p:cNvSpPr/>
          <p:nvPr userDrawn="1"/>
        </p:nvSpPr>
        <p:spPr>
          <a:xfrm>
            <a:off x="0" y="949394"/>
            <a:ext cx="12192000" cy="90512"/>
          </a:xfrm>
          <a:custGeom>
            <a:avLst/>
            <a:gdLst/>
            <a:ahLst/>
            <a:cxnLst/>
            <a:rect l="l" t="t" r="r" b="b"/>
            <a:pathLst>
              <a:path w="14630400" h="132715">
                <a:moveTo>
                  <a:pt x="0" y="132575"/>
                </a:moveTo>
                <a:lnTo>
                  <a:pt x="14630400" y="132575"/>
                </a:lnTo>
                <a:lnTo>
                  <a:pt x="14630400" y="0"/>
                </a:lnTo>
                <a:lnTo>
                  <a:pt x="0" y="0"/>
                </a:lnTo>
                <a:lnTo>
                  <a:pt x="0" y="13257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961297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B387AC-BC5C-4C42-B302-D15C0CB7E4A3}"/>
              </a:ext>
            </a:extLst>
          </p:cNvPr>
          <p:cNvSpPr/>
          <p:nvPr userDrawn="1"/>
        </p:nvSpPr>
        <p:spPr>
          <a:xfrm>
            <a:off x="0" y="261228"/>
            <a:ext cx="12192000" cy="6608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bject 14">
            <a:extLst>
              <a:ext uri="{FF2B5EF4-FFF2-40B4-BE49-F238E27FC236}">
                <a16:creationId xmlns:a16="http://schemas.microsoft.com/office/drawing/2014/main" id="{63CC28AF-816F-914B-BD03-1AAE4F04B3DF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B58BDA-5C65-7E48-BA8E-8DB7156A97A7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DF279B-DCC7-4647-A015-2B277E80A4AB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86B612-2846-D049-B19B-4570D6F3F5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5013" y="620713"/>
            <a:ext cx="8809037" cy="4886325"/>
          </a:xfrm>
        </p:spPr>
        <p:txBody>
          <a:bodyPr>
            <a:noAutofit/>
          </a:bodyPr>
          <a:lstStyle>
            <a:lvl1pPr>
              <a:defRPr sz="40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87117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B387AC-BC5C-4C42-B302-D15C0CB7E4A3}"/>
              </a:ext>
            </a:extLst>
          </p:cNvPr>
          <p:cNvSpPr/>
          <p:nvPr userDrawn="1"/>
        </p:nvSpPr>
        <p:spPr>
          <a:xfrm>
            <a:off x="0" y="-213"/>
            <a:ext cx="12192000" cy="66085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67D320CA-D13D-314C-9DD6-715528DB982B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CDB51F-F2B2-FF4C-B59E-59CDCEE60496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817691-C743-BD49-8BC2-70360EED85C7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D9A7910-8039-6449-B024-BB8DAE55BE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5013" y="620713"/>
            <a:ext cx="8809037" cy="4886325"/>
          </a:xfrm>
        </p:spPr>
        <p:txBody>
          <a:bodyPr>
            <a:noAutofit/>
          </a:bodyPr>
          <a:lstStyle>
            <a:lvl1pPr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55550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ground, person, outdoor, young&#10;&#10;Description automatically generated">
            <a:extLst>
              <a:ext uri="{FF2B5EF4-FFF2-40B4-BE49-F238E27FC236}">
                <a16:creationId xmlns:a16="http://schemas.microsoft.com/office/drawing/2014/main" id="{1E4B4E86-1417-6E49-A17F-5319E3958B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6"/>
          <a:stretch/>
        </p:blipFill>
        <p:spPr>
          <a:xfrm>
            <a:off x="0" y="0"/>
            <a:ext cx="12192000" cy="6639040"/>
          </a:xfrm>
          <a:prstGeom prst="rect">
            <a:avLst/>
          </a:prstGeom>
        </p:spPr>
      </p:pic>
      <p:sp>
        <p:nvSpPr>
          <p:cNvPr id="9" name="object 14">
            <a:extLst>
              <a:ext uri="{FF2B5EF4-FFF2-40B4-BE49-F238E27FC236}">
                <a16:creationId xmlns:a16="http://schemas.microsoft.com/office/drawing/2014/main" id="{67D320CA-D13D-314C-9DD6-715528DB982B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CDB51F-F2B2-FF4C-B59E-59CDCEE60496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817691-C743-BD49-8BC2-70360EED85C7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ADD318E-38DB-CE4E-B1CF-57556C499A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5013" y="620713"/>
            <a:ext cx="8809037" cy="4886325"/>
          </a:xfrm>
        </p:spPr>
        <p:txBody>
          <a:bodyPr>
            <a:noAutofit/>
          </a:bodyPr>
          <a:lstStyle>
            <a:lvl1pPr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88305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19" name="object 2"/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rgbClr val="00A6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3"/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B4B6F706-AD1F-B640-B628-5D2672D7B801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A627395-BAE1-1A4D-B94B-ACBDB056D943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AB3B50D-4186-4427-BB69-E6C752CAA7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1" y="1274778"/>
            <a:ext cx="10952148" cy="4810836"/>
          </a:xfrm>
        </p:spPr>
        <p:txBody>
          <a:bodyPr>
            <a:noAutofit/>
          </a:bodyPr>
          <a:lstStyle>
            <a:lvl1pPr marL="114300" indent="-1143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tabLst/>
              <a:defRPr sz="20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marR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ourier New" panose="02070309020205020404" pitchFamily="49" charset="0"/>
              <a:buChar char="o"/>
              <a:tabLst/>
              <a:defRPr sz="16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marL="1090613" marR="0" lvl="2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09447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FDA968-CFFF-574B-B309-1B13EAF036C4}"/>
              </a:ext>
            </a:extLst>
          </p:cNvPr>
          <p:cNvSpPr/>
          <p:nvPr userDrawn="1"/>
        </p:nvSpPr>
        <p:spPr>
          <a:xfrm>
            <a:off x="0" y="0"/>
            <a:ext cx="12192000" cy="68390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19" name="object 2"/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rgbClr val="00A6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3"/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B4B6F706-AD1F-B640-B628-5D2672D7B801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A627395-BAE1-1A4D-B94B-ACBDB056D943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7EF554D-EF9E-4802-AC31-74F3C73C1F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1" y="1274778"/>
            <a:ext cx="10952148" cy="4810836"/>
          </a:xfrm>
        </p:spPr>
        <p:txBody>
          <a:bodyPr>
            <a:noAutofit/>
          </a:bodyPr>
          <a:lstStyle>
            <a:lvl1pPr marL="114300" indent="-1143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tabLst/>
              <a:defRPr sz="20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marR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ourier New" panose="02070309020205020404" pitchFamily="49" charset="0"/>
              <a:buChar char="o"/>
              <a:tabLst/>
              <a:defRPr sz="16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marL="1090613" marR="0" lvl="2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0340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589FC804-BA26-1A4C-9F9E-601162E3A92A}"/>
              </a:ext>
            </a:extLst>
          </p:cNvPr>
          <p:cNvSpPr/>
          <p:nvPr userDrawn="1"/>
        </p:nvSpPr>
        <p:spPr>
          <a:xfrm>
            <a:off x="-1" y="1"/>
            <a:ext cx="8962571" cy="66148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pPr marL="115570">
              <a:spcBef>
                <a:spcPts val="100"/>
              </a:spcBef>
              <a:spcAft>
                <a:spcPts val="100"/>
              </a:spcAft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48072A1-51AC-0742-AC82-8A9EB8B541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7414" y="4530977"/>
            <a:ext cx="5951320" cy="1547397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0F8B168-31C9-A748-B16B-40DA460FC3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7414" y="2320515"/>
            <a:ext cx="5951320" cy="1547397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1A5276-B207-1241-AB5C-173DA2456ED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21675" y="-3175"/>
            <a:ext cx="3870325" cy="6872288"/>
          </a:xfrm>
        </p:spPr>
        <p:txBody>
          <a:bodyPr/>
          <a:lstStyle/>
          <a:p>
            <a:endParaRPr lang="en-US"/>
          </a:p>
        </p:txBody>
      </p:sp>
      <p:pic>
        <p:nvPicPr>
          <p:cNvPr id="26" name="Picture 17" descr="A person flying through the sky&#10;&#10;Description automatically generated">
            <a:extLst>
              <a:ext uri="{FF2B5EF4-FFF2-40B4-BE49-F238E27FC236}">
                <a16:creationId xmlns:a16="http://schemas.microsoft.com/office/drawing/2014/main" id="{D0CAA0DA-3C2D-ED41-A609-880772538F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7625" y="0"/>
            <a:ext cx="3873436" cy="6611257"/>
          </a:xfrm>
          <a:prstGeom prst="rect">
            <a:avLst/>
          </a:prstGeom>
        </p:spPr>
      </p:pic>
      <p:sp>
        <p:nvSpPr>
          <p:cNvPr id="33" name="Title 7">
            <a:extLst>
              <a:ext uri="{FF2B5EF4-FFF2-40B4-BE49-F238E27FC236}">
                <a16:creationId xmlns:a16="http://schemas.microsoft.com/office/drawing/2014/main" id="{F21A72B0-98FB-0949-91E6-5003ECBCE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51" y="502362"/>
            <a:ext cx="5527649" cy="95974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5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023B5CBC-FA81-C342-98C0-25C1A701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2" y="1717012"/>
            <a:ext cx="1937104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1180FE8C-1825-C549-B594-DFDE6EBCF4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52" y="3929860"/>
            <a:ext cx="1937104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pic>
        <p:nvPicPr>
          <p:cNvPr id="4" name="Picture 3" descr="A person holding a guitar&#10;&#10;Description automatically generated with medium confidence">
            <a:extLst>
              <a:ext uri="{FF2B5EF4-FFF2-40B4-BE49-F238E27FC236}">
                <a16:creationId xmlns:a16="http://schemas.microsoft.com/office/drawing/2014/main" id="{DE32126E-F6E2-8343-A036-58FDEED358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124" y="-2240257"/>
            <a:ext cx="11085937" cy="8848604"/>
          </a:xfrm>
          <a:prstGeom prst="rect">
            <a:avLst/>
          </a:prstGeom>
        </p:spPr>
      </p:pic>
      <p:sp>
        <p:nvSpPr>
          <p:cNvPr id="17" name="object 14">
            <a:extLst>
              <a:ext uri="{FF2B5EF4-FFF2-40B4-BE49-F238E27FC236}">
                <a16:creationId xmlns:a16="http://schemas.microsoft.com/office/drawing/2014/main" id="{B57844F7-F117-3E40-9D0D-6593EA925DEE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98A583-B574-B64E-AC11-DE1B6F1D65D7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1307D2-8B0F-0446-8920-FA0A95D55A53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9591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589FC804-BA26-1A4C-9F9E-601162E3A92A}"/>
              </a:ext>
            </a:extLst>
          </p:cNvPr>
          <p:cNvSpPr/>
          <p:nvPr userDrawn="1"/>
        </p:nvSpPr>
        <p:spPr>
          <a:xfrm>
            <a:off x="-1" y="1"/>
            <a:ext cx="8962571" cy="66148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pPr marL="115570">
              <a:spcBef>
                <a:spcPts val="100"/>
              </a:spcBef>
              <a:spcAft>
                <a:spcPts val="100"/>
              </a:spcAft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48072A1-51AC-0742-AC82-8A9EB8B541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7414" y="4530977"/>
            <a:ext cx="5951320" cy="1547397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0F8B168-31C9-A748-B16B-40DA460FC3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7414" y="2320515"/>
            <a:ext cx="5951320" cy="1547397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1A5276-B207-1241-AB5C-173DA2456ED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21675" y="-3175"/>
            <a:ext cx="3870325" cy="6872288"/>
          </a:xfrm>
        </p:spPr>
        <p:txBody>
          <a:bodyPr/>
          <a:lstStyle/>
          <a:p>
            <a:endParaRPr lang="en-US"/>
          </a:p>
        </p:txBody>
      </p:sp>
      <p:pic>
        <p:nvPicPr>
          <p:cNvPr id="26" name="Picture 17" descr="A person flying through the sky&#10;&#10;Description automatically generated">
            <a:extLst>
              <a:ext uri="{FF2B5EF4-FFF2-40B4-BE49-F238E27FC236}">
                <a16:creationId xmlns:a16="http://schemas.microsoft.com/office/drawing/2014/main" id="{D0CAA0DA-3C2D-ED41-A609-880772538F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7625" y="0"/>
            <a:ext cx="3873436" cy="6611257"/>
          </a:xfrm>
          <a:prstGeom prst="rect">
            <a:avLst/>
          </a:prstGeom>
        </p:spPr>
      </p:pic>
      <p:sp>
        <p:nvSpPr>
          <p:cNvPr id="33" name="Title 7">
            <a:extLst>
              <a:ext uri="{FF2B5EF4-FFF2-40B4-BE49-F238E27FC236}">
                <a16:creationId xmlns:a16="http://schemas.microsoft.com/office/drawing/2014/main" id="{F21A72B0-98FB-0949-91E6-5003ECBCE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51" y="502362"/>
            <a:ext cx="5527649" cy="95974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5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023B5CBC-FA81-C342-98C0-25C1A701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2" y="1717012"/>
            <a:ext cx="1937104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1180FE8C-1825-C549-B594-DFDE6EBCF4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52" y="3929860"/>
            <a:ext cx="1937104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pic>
        <p:nvPicPr>
          <p:cNvPr id="4" name="Picture 3" descr="A person holding a guitar&#10;&#10;Description automatically generated with medium confidence">
            <a:extLst>
              <a:ext uri="{FF2B5EF4-FFF2-40B4-BE49-F238E27FC236}">
                <a16:creationId xmlns:a16="http://schemas.microsoft.com/office/drawing/2014/main" id="{DE32126E-F6E2-8343-A036-58FDEED358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124" y="-2240257"/>
            <a:ext cx="11085937" cy="8848604"/>
          </a:xfrm>
          <a:prstGeom prst="rect">
            <a:avLst/>
          </a:prstGeom>
        </p:spPr>
      </p:pic>
      <p:sp>
        <p:nvSpPr>
          <p:cNvPr id="17" name="object 14">
            <a:extLst>
              <a:ext uri="{FF2B5EF4-FFF2-40B4-BE49-F238E27FC236}">
                <a16:creationId xmlns:a16="http://schemas.microsoft.com/office/drawing/2014/main" id="{B57844F7-F117-3E40-9D0D-6593EA925DEE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98A583-B574-B64E-AC11-DE1B6F1D65D7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1307D2-8B0F-0446-8920-FA0A95D55A53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26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2872C2F7-2E0B-2568-710B-F422833C66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0225" y="1837765"/>
            <a:ext cx="8263054" cy="4124201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CCE26F7D-1A6B-8BA8-4B38-56072BE1C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68183"/>
            <a:ext cx="11509544" cy="909493"/>
          </a:xfrm>
        </p:spPr>
        <p:txBody>
          <a:bodyPr>
            <a:normAutofit/>
          </a:bodyPr>
          <a:lstStyle>
            <a:lvl1pPr>
              <a:defRPr sz="3200">
                <a:solidFill>
                  <a:srgbClr val="143DCF"/>
                </a:solidFill>
                <a:latin typeface="+mn-lt"/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323D97AA-F8B3-3937-7D9B-5F13FDFCDD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4982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DAD6DBC-BFE0-BCC8-DFC4-8C5D8B3280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2540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2DE728C-96E2-A7A1-8BC6-3F69AFE14E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1267A27C-146F-8C91-CD73-B69A467DB0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4981" y="563412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35AF00B9-FFA4-D85B-3971-CCAAA9D217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1389" y="5589588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B8A2F664-F7E5-5547-D5AC-4DC1D5585F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14980" y="377590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3B6E29FB-4FED-B157-EAC6-A97DEB9C5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2540" y="374568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0A88DE55-A757-6B98-FCAA-D8BB3FABCD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69410" y="1942678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9359A4D9-BBE3-D14D-C22E-AC7C12D32B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69410" y="56046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F3C9E2FC-70D2-AF32-7539-F58AAED25F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69410" y="37237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E824B7-BEEE-FE04-834B-33AA9F71795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D09BF4-B2B9-6F2F-6A78-7AEC1F0C15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2A299B-3BF3-954E-BFB7-7B69EA08E66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005F8A-52E4-5AE8-E4A6-6AD3B753F07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E0BD81-258B-1996-071D-FBBF4D8E0A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ABDC88-A902-7D10-BD42-9D03C33D85C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B8E48C-57AE-2409-F79C-25C7620E31C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2D238C2-452F-A06A-978C-07533FF1BA2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7E4091-52E8-38F1-B527-C59A5BBFA91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711AE0-B710-CF1B-7741-D27528E3E00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A293C3-1580-7F3F-38F6-18ACD35B2ED6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4054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1A5276-B207-1241-AB5C-173DA2456ED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21675" y="-3175"/>
            <a:ext cx="3870325" cy="6872288"/>
          </a:xfrm>
        </p:spPr>
        <p:txBody>
          <a:bodyPr/>
          <a:lstStyle/>
          <a:p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9FC804-BA26-1A4C-9F9E-601162E3A92A}"/>
              </a:ext>
            </a:extLst>
          </p:cNvPr>
          <p:cNvSpPr/>
          <p:nvPr userDrawn="1"/>
        </p:nvSpPr>
        <p:spPr>
          <a:xfrm>
            <a:off x="-1" y="1"/>
            <a:ext cx="8962571" cy="66148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pPr marL="115570">
              <a:spcBef>
                <a:spcPts val="100"/>
              </a:spcBef>
              <a:spcAft>
                <a:spcPts val="100"/>
              </a:spcAft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26" name="Picture 17" descr="A person flying through the sky&#10;&#10;Description automatically generated">
            <a:extLst>
              <a:ext uri="{FF2B5EF4-FFF2-40B4-BE49-F238E27FC236}">
                <a16:creationId xmlns:a16="http://schemas.microsoft.com/office/drawing/2014/main" id="{D0CAA0DA-3C2D-ED41-A609-880772538F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7625" y="0"/>
            <a:ext cx="3873436" cy="6611257"/>
          </a:xfrm>
          <a:prstGeom prst="rect">
            <a:avLst/>
          </a:prstGeom>
        </p:spPr>
      </p:pic>
      <p:sp>
        <p:nvSpPr>
          <p:cNvPr id="33" name="Title 7">
            <a:extLst>
              <a:ext uri="{FF2B5EF4-FFF2-40B4-BE49-F238E27FC236}">
                <a16:creationId xmlns:a16="http://schemas.microsoft.com/office/drawing/2014/main" id="{F21A72B0-98FB-0949-91E6-5003ECBCE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51" y="502362"/>
            <a:ext cx="6376459" cy="95974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54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023B5CBC-FA81-C342-98C0-25C1A701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1" y="1691374"/>
            <a:ext cx="6225987" cy="4060070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800" b="0" i="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B57844F7-F117-3E40-9D0D-6593EA925DEE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98A583-B574-B64E-AC11-DE1B6F1D65D7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1307D2-8B0F-0446-8920-FA0A95D55A53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2" name="Picture 21" descr="A person holding a guitar&#10;&#10;Description automatically generated with medium confidence">
            <a:extLst>
              <a:ext uri="{FF2B5EF4-FFF2-40B4-BE49-F238E27FC236}">
                <a16:creationId xmlns:a16="http://schemas.microsoft.com/office/drawing/2014/main" id="{3B8C1BAE-A4B4-7F43-A038-185A3ABFCF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124" y="-2240257"/>
            <a:ext cx="11085937" cy="8848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10517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0" y="0"/>
            <a:ext cx="6415088" cy="6858000"/>
            <a:chOff x="0" y="0"/>
            <a:chExt cx="7815580" cy="8366981"/>
          </a:xfrm>
        </p:grpSpPr>
        <p:sp>
          <p:nvSpPr>
            <p:cNvPr id="20" name="object 3"/>
            <p:cNvSpPr/>
            <p:nvPr userDrawn="1"/>
          </p:nvSpPr>
          <p:spPr>
            <a:xfrm>
              <a:off x="0" y="0"/>
              <a:ext cx="7815580" cy="5356860"/>
            </a:xfrm>
            <a:custGeom>
              <a:avLst/>
              <a:gdLst/>
              <a:ahLst/>
              <a:cxnLst/>
              <a:rect l="l" t="t" r="r" b="b"/>
              <a:pathLst>
                <a:path w="7815580" h="5356860">
                  <a:moveTo>
                    <a:pt x="0" y="5356606"/>
                  </a:moveTo>
                  <a:lnTo>
                    <a:pt x="7815491" y="5356606"/>
                  </a:lnTo>
                  <a:lnTo>
                    <a:pt x="7815491" y="0"/>
                  </a:lnTo>
                  <a:lnTo>
                    <a:pt x="0" y="0"/>
                  </a:lnTo>
                  <a:lnTo>
                    <a:pt x="0" y="5356606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4"/>
            <p:cNvSpPr/>
            <p:nvPr userDrawn="1"/>
          </p:nvSpPr>
          <p:spPr>
            <a:xfrm>
              <a:off x="0" y="2837542"/>
              <a:ext cx="7815580" cy="5529439"/>
            </a:xfrm>
            <a:custGeom>
              <a:avLst/>
              <a:gdLst/>
              <a:ahLst/>
              <a:cxnLst/>
              <a:rect l="l" t="t" r="r" b="b"/>
              <a:pathLst>
                <a:path w="7815580" h="2254250">
                  <a:moveTo>
                    <a:pt x="0" y="2253640"/>
                  </a:moveTo>
                  <a:lnTo>
                    <a:pt x="7815491" y="2253640"/>
                  </a:lnTo>
                  <a:lnTo>
                    <a:pt x="7815491" y="0"/>
                  </a:lnTo>
                  <a:lnTo>
                    <a:pt x="0" y="0"/>
                  </a:lnTo>
                  <a:lnTo>
                    <a:pt x="0" y="225364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415088" y="-1"/>
            <a:ext cx="5776912" cy="660856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35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98041" y="1877701"/>
            <a:ext cx="5618573" cy="26640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b="0" i="0" kern="1200" spc="245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ALL-CAPS</a:t>
            </a:r>
          </a:p>
        </p:txBody>
      </p:sp>
      <p:sp>
        <p:nvSpPr>
          <p:cNvPr id="38" name="Title 32"/>
          <p:cNvSpPr>
            <a:spLocks noGrp="1"/>
          </p:cNvSpPr>
          <p:nvPr>
            <p:ph type="title"/>
          </p:nvPr>
        </p:nvSpPr>
        <p:spPr>
          <a:xfrm>
            <a:off x="398041" y="570086"/>
            <a:ext cx="5618573" cy="130907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3" name="object 14">
            <a:extLst>
              <a:ext uri="{FF2B5EF4-FFF2-40B4-BE49-F238E27FC236}">
                <a16:creationId xmlns:a16="http://schemas.microsoft.com/office/drawing/2014/main" id="{1F1B76FF-C9EC-5A44-A974-9022B654186B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E65AA18-2446-C841-95C6-6F2267FB5FEA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CF5127-9F25-9E46-8D97-1E611FED570C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4F3D7E-EEAF-334C-885F-08C15C6314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8041" y="2449249"/>
            <a:ext cx="5618573" cy="3719776"/>
          </a:xfrm>
        </p:spPr>
        <p:txBody>
          <a:bodyPr>
            <a:noAutofit/>
          </a:bodyPr>
          <a:lstStyle>
            <a:lvl1pPr marL="114300" indent="-114300"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  <a:p>
            <a:pPr lvl="4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16128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705601" y="900273"/>
            <a:ext cx="5486400" cy="5700341"/>
          </a:xfrm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endParaRPr lang="en-US"/>
          </a:p>
        </p:txBody>
      </p:sp>
      <p:sp>
        <p:nvSpPr>
          <p:cNvPr id="9" name="object 3"/>
          <p:cNvSpPr/>
          <p:nvPr userDrawn="1"/>
        </p:nvSpPr>
        <p:spPr>
          <a:xfrm>
            <a:off x="0" y="905993"/>
            <a:ext cx="6705600" cy="5700342"/>
          </a:xfrm>
          <a:custGeom>
            <a:avLst/>
            <a:gdLst/>
            <a:ahLst/>
            <a:cxnLst/>
            <a:rect l="l" t="t" r="r" b="b"/>
            <a:pathLst>
              <a:path w="7315200" h="6218555">
                <a:moveTo>
                  <a:pt x="0" y="6218174"/>
                </a:moveTo>
                <a:lnTo>
                  <a:pt x="7315200" y="6218174"/>
                </a:lnTo>
                <a:lnTo>
                  <a:pt x="7315200" y="0"/>
                </a:lnTo>
                <a:lnTo>
                  <a:pt x="0" y="0"/>
                </a:lnTo>
                <a:lnTo>
                  <a:pt x="0" y="6218174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D6DCC7D7-83DB-FF49-9DED-47437181314F}"/>
              </a:ext>
            </a:extLst>
          </p:cNvPr>
          <p:cNvSpPr/>
          <p:nvPr userDrawn="1"/>
        </p:nvSpPr>
        <p:spPr>
          <a:xfrm>
            <a:off x="0" y="0"/>
            <a:ext cx="12192000" cy="1039905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4">
            <a:extLst>
              <a:ext uri="{FF2B5EF4-FFF2-40B4-BE49-F238E27FC236}">
                <a16:creationId xmlns:a16="http://schemas.microsoft.com/office/drawing/2014/main" id="{A051F528-0267-AC44-802E-6CFA81790A91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CE3AC5-6BA2-9D4B-8D9D-85BBCB0AD79F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5550B7E-D516-3042-9492-3A35043BF549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C94709-72E8-DB46-84A4-EC29FA2E63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232" y="246212"/>
            <a:ext cx="10952848" cy="547480"/>
          </a:xfrm>
        </p:spPr>
        <p:txBody>
          <a:bodyPr>
            <a:noAutofit/>
          </a:bodyPr>
          <a:lstStyle>
            <a:lvl1pPr>
              <a:buNone/>
              <a:defRPr sz="32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AF382F4-90BE-C84D-B5E4-25DF0C0E8C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2" y="1286117"/>
            <a:ext cx="5486768" cy="4882908"/>
          </a:xfrm>
        </p:spPr>
        <p:txBody>
          <a:bodyPr>
            <a:noAutofit/>
          </a:bodyPr>
          <a:lstStyle>
            <a:lvl1pPr marL="114300" indent="-114300"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86785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0" y="0"/>
            <a:ext cx="6380189" cy="6865257"/>
          </a:xfrm>
          <a:custGeom>
            <a:avLst/>
            <a:gdLst/>
            <a:ahLst/>
            <a:cxnLst/>
            <a:rect l="l" t="t" r="r" b="b"/>
            <a:pathLst>
              <a:path w="7633970" h="8214359">
                <a:moveTo>
                  <a:pt x="7633944" y="8213763"/>
                </a:moveTo>
                <a:lnTo>
                  <a:pt x="0" y="8213763"/>
                </a:lnTo>
                <a:lnTo>
                  <a:pt x="0" y="0"/>
                </a:lnTo>
                <a:lnTo>
                  <a:pt x="7633944" y="0"/>
                </a:lnTo>
                <a:lnTo>
                  <a:pt x="7633944" y="8213763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68351" y="502362"/>
            <a:ext cx="5243485" cy="5092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19" name="Picture Placeholder 25">
            <a:extLst>
              <a:ext uri="{FF2B5EF4-FFF2-40B4-BE49-F238E27FC236}">
                <a16:creationId xmlns:a16="http://schemas.microsoft.com/office/drawing/2014/main" id="{C0EDF1BA-F897-AC42-9578-3CCCFD8F9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80164" y="-1"/>
            <a:ext cx="5811836" cy="660403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0525074F-92B4-2A4A-8FD9-4119F323FE50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4B00D6-F204-9642-B56C-5BBE902D4083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2FA67C-B82C-FA42-9F0D-AFF4AE7190E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2EA40DD-7967-9541-8BCE-5CC1158EEA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8351" y="1513961"/>
            <a:ext cx="5243485" cy="4655064"/>
          </a:xfrm>
        </p:spPr>
        <p:txBody>
          <a:bodyPr>
            <a:noAutofit/>
          </a:bodyPr>
          <a:lstStyle>
            <a:lvl1pPr marL="114300" indent="-114300"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1871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0" y="0"/>
            <a:ext cx="6380189" cy="6865257"/>
          </a:xfrm>
          <a:custGeom>
            <a:avLst/>
            <a:gdLst/>
            <a:ahLst/>
            <a:cxnLst/>
            <a:rect l="l" t="t" r="r" b="b"/>
            <a:pathLst>
              <a:path w="7633970" h="8214359">
                <a:moveTo>
                  <a:pt x="7633944" y="8213763"/>
                </a:moveTo>
                <a:lnTo>
                  <a:pt x="0" y="8213763"/>
                </a:lnTo>
                <a:lnTo>
                  <a:pt x="0" y="0"/>
                </a:lnTo>
                <a:lnTo>
                  <a:pt x="7633944" y="0"/>
                </a:lnTo>
                <a:lnTo>
                  <a:pt x="7633944" y="8213763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75E35BF-C9F5-E749-9493-8C36CB282A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112" y="2210177"/>
            <a:ext cx="4575629" cy="3958848"/>
          </a:xfrm>
        </p:spPr>
        <p:txBody>
          <a:bodyPr>
            <a:noAutofit/>
          </a:bodyPr>
          <a:lstStyle>
            <a:lvl1pPr marL="114300" indent="-114300">
              <a:tabLst/>
              <a:defRPr sz="15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95113" y="598495"/>
            <a:ext cx="4575628" cy="14927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380163" y="-1"/>
            <a:ext cx="5811837" cy="660403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5EE6E61F-3C40-184C-BDFD-0C688F65A4DE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29C900-8C23-D64E-AD26-E6B959AE92AC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425BAE-D08E-A242-8D08-2F09949F5011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35203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5811811" y="-7257"/>
            <a:ext cx="6380189" cy="6865257"/>
          </a:xfrm>
          <a:custGeom>
            <a:avLst/>
            <a:gdLst/>
            <a:ahLst/>
            <a:cxnLst/>
            <a:rect l="l" t="t" r="r" b="b"/>
            <a:pathLst>
              <a:path w="7633970" h="8214359">
                <a:moveTo>
                  <a:pt x="7633944" y="8213763"/>
                </a:moveTo>
                <a:lnTo>
                  <a:pt x="0" y="8213763"/>
                </a:lnTo>
                <a:lnTo>
                  <a:pt x="0" y="0"/>
                </a:lnTo>
                <a:lnTo>
                  <a:pt x="7633944" y="0"/>
                </a:lnTo>
                <a:lnTo>
                  <a:pt x="7633944" y="8213763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2D82D2A-E8D2-274A-A6DF-0BED4B8FE3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48216" y="2873828"/>
            <a:ext cx="4847771" cy="2656116"/>
          </a:xfrm>
        </p:spPr>
        <p:txBody>
          <a:bodyPr>
            <a:noAutofit/>
          </a:bodyPr>
          <a:lstStyle>
            <a:lvl1pPr marL="114300" indent="-114300">
              <a:tabLst/>
              <a:defRPr sz="15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5811838" cy="66083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6548216" y="1493043"/>
            <a:ext cx="4847771" cy="1295626"/>
          </a:xfrm>
        </p:spPr>
        <p:txBody>
          <a:bodyPr>
            <a:noAutofit/>
          </a:bodyPr>
          <a:lstStyle>
            <a:lvl1pPr>
              <a:defRPr lang="en-US" sz="4000" b="1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32033EF5-5C33-EF4C-BA65-CB528D26F1FF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33E61B-5C77-3347-8505-25415E2A171C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428D19-C99A-5244-8DEB-3ACEB8030D1E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402103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5811811" y="-7257"/>
            <a:ext cx="6380189" cy="6865257"/>
          </a:xfrm>
          <a:custGeom>
            <a:avLst/>
            <a:gdLst/>
            <a:ahLst/>
            <a:cxnLst/>
            <a:rect l="l" t="t" r="r" b="b"/>
            <a:pathLst>
              <a:path w="7633970" h="8214359">
                <a:moveTo>
                  <a:pt x="7633944" y="8213763"/>
                </a:moveTo>
                <a:lnTo>
                  <a:pt x="0" y="8213763"/>
                </a:lnTo>
                <a:lnTo>
                  <a:pt x="0" y="0"/>
                </a:lnTo>
                <a:lnTo>
                  <a:pt x="7633944" y="0"/>
                </a:lnTo>
                <a:lnTo>
                  <a:pt x="7633944" y="8213763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5811838" cy="66083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6548216" y="1493043"/>
            <a:ext cx="4847771" cy="1295626"/>
          </a:xfrm>
        </p:spPr>
        <p:txBody>
          <a:bodyPr>
            <a:noAutofit/>
          </a:bodyPr>
          <a:lstStyle>
            <a:lvl1pPr>
              <a:defRPr lang="en-US" sz="4000" b="1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32033EF5-5C33-EF4C-BA65-CB528D26F1FF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33E61B-5C77-3347-8505-25415E2A171C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428D19-C99A-5244-8DEB-3ACEB8030D1E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16EA486-51AB-E048-886C-70D21AABFB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48216" y="2873828"/>
            <a:ext cx="4847771" cy="2656116"/>
          </a:xfrm>
        </p:spPr>
        <p:txBody>
          <a:bodyPr>
            <a:noAutofit/>
          </a:bodyPr>
          <a:lstStyle>
            <a:lvl1pPr marL="114300" indent="-114300">
              <a:tabLst/>
              <a:defRPr sz="15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1649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7907317" y="-7257"/>
            <a:ext cx="3866497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8"/>
          <p:cNvSpPr/>
          <p:nvPr userDrawn="1"/>
        </p:nvSpPr>
        <p:spPr>
          <a:xfrm>
            <a:off x="11773373" y="-7257"/>
            <a:ext cx="418628" cy="6865257"/>
          </a:xfrm>
          <a:custGeom>
            <a:avLst/>
            <a:gdLst/>
            <a:ahLst/>
            <a:cxnLst/>
            <a:rect l="l" t="t" r="r" b="b"/>
            <a:pathLst>
              <a:path w="457200" h="8229600">
                <a:moveTo>
                  <a:pt x="0" y="8229600"/>
                </a:moveTo>
                <a:lnTo>
                  <a:pt x="457200" y="8229600"/>
                </a:lnTo>
                <a:lnTo>
                  <a:pt x="457200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Picture Placeholder 9"/>
          <p:cNvSpPr>
            <a:spLocks noGrp="1"/>
          </p:cNvSpPr>
          <p:nvPr userDrawn="1">
            <p:ph type="pic" sz="quarter" idx="10"/>
          </p:nvPr>
        </p:nvSpPr>
        <p:spPr>
          <a:xfrm>
            <a:off x="0" y="-1"/>
            <a:ext cx="7907316" cy="66083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11" name="Title 10"/>
          <p:cNvSpPr>
            <a:spLocks noGrp="1"/>
          </p:cNvSpPr>
          <p:nvPr userDrawn="1">
            <p:ph type="title"/>
          </p:nvPr>
        </p:nvSpPr>
        <p:spPr>
          <a:xfrm>
            <a:off x="8149590" y="1569811"/>
            <a:ext cx="3381950" cy="1782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03562ECA-FC5B-8C48-9407-AD8204645385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89143D6-3614-7F4D-9664-3E594E7EF10C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1D9F85-7794-B645-8BEB-1AD8CE917621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1CD20F4-F13A-1E49-A3C7-7A79C0855A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49148" y="3410094"/>
            <a:ext cx="3382391" cy="2614477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61986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C693F22-37CE-E440-A764-0E367717FD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231" y="1999660"/>
            <a:ext cx="5259704" cy="4085953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8784723-4AFA-4742-ADCB-358652FF6F72}"/>
              </a:ext>
            </a:extLst>
          </p:cNvPr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22" name="object 2">
              <a:extLst>
                <a:ext uri="{FF2B5EF4-FFF2-40B4-BE49-F238E27FC236}">
                  <a16:creationId xmlns:a16="http://schemas.microsoft.com/office/drawing/2014/main" id="{4F62F695-717D-374C-802D-7FEBEAD6FE46}"/>
                </a:ext>
              </a:extLst>
            </p:cNvPr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rgbClr val="00A6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3">
              <a:extLst>
                <a:ext uri="{FF2B5EF4-FFF2-40B4-BE49-F238E27FC236}">
                  <a16:creationId xmlns:a16="http://schemas.microsoft.com/office/drawing/2014/main" id="{B392FAE7-9F0A-8D4D-94F3-8E024FD2710E}"/>
                </a:ext>
              </a:extLst>
            </p:cNvPr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>
            <a:extLst>
              <a:ext uri="{FF2B5EF4-FFF2-40B4-BE49-F238E27FC236}">
                <a16:creationId xmlns:a16="http://schemas.microsoft.com/office/drawing/2014/main" id="{70D3D3E5-0E23-274C-9962-BEA8E59E9D56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731DCB6-6D89-D545-9763-D64908F3D03A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59548"/>
            <a:ext cx="10937489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EDE34C67-EF85-5741-BCC6-1C9234DAED84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814F731-5C23-3A4F-AFB0-7F1F2B08FA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7017" y="1999660"/>
            <a:ext cx="5259704" cy="4085953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764531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>
            <a:extLst>
              <a:ext uri="{FF2B5EF4-FFF2-40B4-BE49-F238E27FC236}">
                <a16:creationId xmlns:a16="http://schemas.microsoft.com/office/drawing/2014/main" id="{70D3D3E5-0E23-274C-9962-BEA8E59E9D56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731DCB6-6D89-D545-9763-D64908F3D03A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3344092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F7A1BCF4-A8A2-6245-A98E-69AAAE820C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6515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8B64A02-492D-FE46-8E47-7D3C8EF0DFE6}"/>
              </a:ext>
            </a:extLst>
          </p:cNvPr>
          <p:cNvCxnSpPr>
            <a:cxnSpLocks/>
          </p:cNvCxnSpPr>
          <p:nvPr userDrawn="1"/>
        </p:nvCxnSpPr>
        <p:spPr>
          <a:xfrm>
            <a:off x="4436515" y="1854431"/>
            <a:ext cx="3344092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EAB7758D-1263-9340-B58E-8BCF64EAE3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5517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09C1042-81DA-7544-BC1C-27DB8E4DED8E}"/>
              </a:ext>
            </a:extLst>
          </p:cNvPr>
          <p:cNvCxnSpPr>
            <a:cxnSpLocks/>
          </p:cNvCxnSpPr>
          <p:nvPr userDrawn="1"/>
        </p:nvCxnSpPr>
        <p:spPr>
          <a:xfrm>
            <a:off x="8235517" y="1854431"/>
            <a:ext cx="3344092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0729F0B-7D7C-4E45-A2F5-2638A8899581}"/>
              </a:ext>
            </a:extLst>
          </p:cNvPr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39" name="object 2">
              <a:extLst>
                <a:ext uri="{FF2B5EF4-FFF2-40B4-BE49-F238E27FC236}">
                  <a16:creationId xmlns:a16="http://schemas.microsoft.com/office/drawing/2014/main" id="{0A7B2C8C-0511-364F-88EC-07A6DFE862AA}"/>
                </a:ext>
              </a:extLst>
            </p:cNvPr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">
              <a:extLst>
                <a:ext uri="{FF2B5EF4-FFF2-40B4-BE49-F238E27FC236}">
                  <a16:creationId xmlns:a16="http://schemas.microsoft.com/office/drawing/2014/main" id="{19CE5A06-E2B8-AD47-BBCE-A064E7267E5D}"/>
                </a:ext>
              </a:extLst>
            </p:cNvPr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1" name="Title 23">
            <a:extLst>
              <a:ext uri="{FF2B5EF4-FFF2-40B4-BE49-F238E27FC236}">
                <a16:creationId xmlns:a16="http://schemas.microsoft.com/office/drawing/2014/main" id="{DBD66D1A-0C25-3743-96E4-E9D4CA69E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68310"/>
            <a:ext cx="10970377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6AFD1CD-D5BA-6140-8A4F-0DE9E300A16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7D7596C-2311-2344-A2D3-84D7E9261F3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232" y="1999660"/>
            <a:ext cx="3344092" cy="4085953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E998CAC-D867-8344-8C96-EBD905A625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47586" y="1999660"/>
            <a:ext cx="3344092" cy="4085953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608FD06-6977-6D4D-BDEC-01F462D627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85940" y="1999660"/>
            <a:ext cx="3293669" cy="4085953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08820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AB6AE7-43CD-C976-2A32-5EBD06ABFC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0" y="-1390"/>
            <a:ext cx="6858000" cy="6858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7053145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7053145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71CFF483-1DEE-F160-A2A3-0BC15E1752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1418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3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68BB297C-4F11-B641-A0B7-87B423EC0D7B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513F85A-5C71-7446-9D01-DA58F486B254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3201D6F-B902-C14B-BB58-A6290D8E850A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1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39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 userDrawn="1"/>
        </p:nvCxnSpPr>
        <p:spPr>
          <a:xfrm>
            <a:off x="486324" y="2185352"/>
            <a:ext cx="264978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 userDrawn="1"/>
        </p:nvCxnSpPr>
        <p:spPr>
          <a:xfrm>
            <a:off x="3335032" y="2185352"/>
            <a:ext cx="264978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 userDrawn="1"/>
        </p:nvCxnSpPr>
        <p:spPr>
          <a:xfrm>
            <a:off x="6207184" y="2185352"/>
            <a:ext cx="264978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 userDrawn="1"/>
        </p:nvCxnSpPr>
        <p:spPr>
          <a:xfrm>
            <a:off x="9079339" y="2185352"/>
            <a:ext cx="264978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AA5A1DE-1C37-9C49-AEAC-CD84F8249698}"/>
              </a:ext>
            </a:extLst>
          </p:cNvPr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31" name="object 2">
              <a:extLst>
                <a:ext uri="{FF2B5EF4-FFF2-40B4-BE49-F238E27FC236}">
                  <a16:creationId xmlns:a16="http://schemas.microsoft.com/office/drawing/2014/main" id="{81C8B496-17AD-854B-86A7-46CFE4A24FA1}"/>
                </a:ext>
              </a:extLst>
            </p:cNvPr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">
              <a:extLst>
                <a:ext uri="{FF2B5EF4-FFF2-40B4-BE49-F238E27FC236}">
                  <a16:creationId xmlns:a16="http://schemas.microsoft.com/office/drawing/2014/main" id="{4DAD5BCB-4F72-3A4B-8640-78A15CB0BDDB}"/>
                </a:ext>
              </a:extLst>
            </p:cNvPr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2" y="168310"/>
            <a:ext cx="11119890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DB93D1D-ED5D-CF4D-B314-21B564C8286E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486323" y="2356008"/>
            <a:ext cx="2661506" cy="3729605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D57E9C33-55B7-584C-9479-6D1E44DD68ED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3335031" y="2356008"/>
            <a:ext cx="2674046" cy="3729605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D87601F6-C6F7-984D-B0D8-31EEBF27E507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196279" y="2356008"/>
            <a:ext cx="2674046" cy="3729605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2BEF79C-F130-7547-8FEB-52F2C6B0B0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55893" y="2356008"/>
            <a:ext cx="2674046" cy="3729605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41279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8109647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8D48D0B-58D4-874E-A7BB-FCE1D81EA330}"/>
              </a:ext>
            </a:extLst>
          </p:cNvPr>
          <p:cNvSpPr/>
          <p:nvPr userDrawn="1"/>
        </p:nvSpPr>
        <p:spPr>
          <a:xfrm>
            <a:off x="4027296" y="-7257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/>
          </a:p>
        </p:txBody>
      </p:sp>
      <p:sp>
        <p:nvSpPr>
          <p:cNvPr id="26" name="object 2">
            <a:extLst>
              <a:ext uri="{FF2B5EF4-FFF2-40B4-BE49-F238E27FC236}">
                <a16:creationId xmlns:a16="http://schemas.microsoft.com/office/drawing/2014/main" id="{126C8BFA-8CF8-DD4D-A574-D97E28367D5B}"/>
              </a:ext>
            </a:extLst>
          </p:cNvPr>
          <p:cNvSpPr/>
          <p:nvPr userDrawn="1"/>
        </p:nvSpPr>
        <p:spPr>
          <a:xfrm>
            <a:off x="-9939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7E0320-F79C-3B46-BE17-03E29EFE275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46328" y="670181"/>
            <a:ext cx="10515600" cy="883666"/>
          </a:xfrm>
        </p:spPr>
        <p:txBody>
          <a:bodyPr>
            <a:noAutofit/>
          </a:bodyPr>
          <a:lstStyle>
            <a:lvl1pPr algn="ctr">
              <a:defRPr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21E6825-4ADB-4046-805F-23ADDDCA0E2B}"/>
              </a:ext>
            </a:extLst>
          </p:cNvPr>
          <p:cNvSpPr/>
          <p:nvPr userDrawn="1"/>
        </p:nvSpPr>
        <p:spPr>
          <a:xfrm>
            <a:off x="1751211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E787688-92FC-034B-9EE0-7D88C5556919}"/>
              </a:ext>
            </a:extLst>
          </p:cNvPr>
          <p:cNvCxnSpPr/>
          <p:nvPr userDrawn="1"/>
        </p:nvCxnSpPr>
        <p:spPr>
          <a:xfrm>
            <a:off x="1276350" y="309556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DEE947-0818-3245-A202-52BD0F5B8C08}"/>
              </a:ext>
            </a:extLst>
          </p:cNvPr>
          <p:cNvCxnSpPr/>
          <p:nvPr userDrawn="1"/>
        </p:nvCxnSpPr>
        <p:spPr>
          <a:xfrm>
            <a:off x="5318760" y="309556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0E9C8AC-8AD7-3940-8EF1-2CA30256A3AE}"/>
              </a:ext>
            </a:extLst>
          </p:cNvPr>
          <p:cNvCxnSpPr>
            <a:cxnSpLocks/>
          </p:cNvCxnSpPr>
          <p:nvPr userDrawn="1"/>
        </p:nvCxnSpPr>
        <p:spPr>
          <a:xfrm>
            <a:off x="9373584" y="310046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852D0E0-2963-6D41-B973-2FA101FBD6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87568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3CEE7091-C6CC-7E4E-982C-70CAE3B3A885}"/>
              </a:ext>
            </a:extLst>
          </p:cNvPr>
          <p:cNvSpPr/>
          <p:nvPr userDrawn="1"/>
        </p:nvSpPr>
        <p:spPr>
          <a:xfrm>
            <a:off x="5788448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sp>
        <p:nvSpPr>
          <p:cNvPr id="48" name="Text Placeholder 43">
            <a:extLst>
              <a:ext uri="{FF2B5EF4-FFF2-40B4-BE49-F238E27FC236}">
                <a16:creationId xmlns:a16="http://schemas.microsoft.com/office/drawing/2014/main" id="{6B80AD42-B019-154B-944C-39626896A7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34744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6B24090-F46C-7846-857E-10992A03ED7E}"/>
              </a:ext>
            </a:extLst>
          </p:cNvPr>
          <p:cNvSpPr/>
          <p:nvPr userDrawn="1"/>
        </p:nvSpPr>
        <p:spPr>
          <a:xfrm>
            <a:off x="9870797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518AB753-6316-3546-AF61-D6BFA84B9F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06933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2" name="object 14">
            <a:extLst>
              <a:ext uri="{FF2B5EF4-FFF2-40B4-BE49-F238E27FC236}">
                <a16:creationId xmlns:a16="http://schemas.microsoft.com/office/drawing/2014/main" id="{EAE9DB30-5FDF-8D47-AD1D-73ADABA63955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E629D8-8E6C-A041-B298-3AC20264A3C2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A880E61-EA93-4847-9DA9-82453EEC1C74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00480FF-C080-B144-BB0A-CC729BBA72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9209" y="3426365"/>
            <a:ext cx="3098940" cy="2570661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4BD45C5-0DC4-B644-8150-9E78A399E3D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19002" y="3426365"/>
            <a:ext cx="3098940" cy="2570661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0B29215-F3BB-A148-81EB-4F63E391C07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601354" y="3426365"/>
            <a:ext cx="3098940" cy="2570661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55122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bject 2">
            <a:extLst>
              <a:ext uri="{FF2B5EF4-FFF2-40B4-BE49-F238E27FC236}">
                <a16:creationId xmlns:a16="http://schemas.microsoft.com/office/drawing/2014/main" id="{126C8BFA-8CF8-DD4D-A574-D97E28367D5B}"/>
              </a:ext>
            </a:extLst>
          </p:cNvPr>
          <p:cNvSpPr/>
          <p:nvPr userDrawn="1"/>
        </p:nvSpPr>
        <p:spPr>
          <a:xfrm>
            <a:off x="0" y="18905"/>
            <a:ext cx="4082353" cy="6647344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4399C555-479F-0243-BEEB-99FFD4F038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5655" y="2894013"/>
            <a:ext cx="2943409" cy="2811825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31" name="object 2">
            <a:extLst>
              <a:ext uri="{FF2B5EF4-FFF2-40B4-BE49-F238E27FC236}">
                <a16:creationId xmlns:a16="http://schemas.microsoft.com/office/drawing/2014/main" id="{79FFFCFB-871D-6B48-A68E-6C6B6416096A}"/>
              </a:ext>
            </a:extLst>
          </p:cNvPr>
          <p:cNvSpPr/>
          <p:nvPr userDrawn="1"/>
        </p:nvSpPr>
        <p:spPr>
          <a:xfrm>
            <a:off x="4058562" y="18905"/>
            <a:ext cx="4082353" cy="6647344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30" name="object 2">
            <a:extLst>
              <a:ext uri="{FF2B5EF4-FFF2-40B4-BE49-F238E27FC236}">
                <a16:creationId xmlns:a16="http://schemas.microsoft.com/office/drawing/2014/main" id="{ABAEA6B8-7DEA-9F44-9E74-B5D5A97A4C46}"/>
              </a:ext>
            </a:extLst>
          </p:cNvPr>
          <p:cNvSpPr/>
          <p:nvPr userDrawn="1"/>
        </p:nvSpPr>
        <p:spPr>
          <a:xfrm>
            <a:off x="8117899" y="18905"/>
            <a:ext cx="4082353" cy="6647344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27" name="bk object 16">
            <a:extLst>
              <a:ext uri="{FF2B5EF4-FFF2-40B4-BE49-F238E27FC236}">
                <a16:creationId xmlns:a16="http://schemas.microsoft.com/office/drawing/2014/main" id="{F7B57EDB-1461-3043-9229-E742D69D9BBB}"/>
              </a:ext>
            </a:extLst>
          </p:cNvPr>
          <p:cNvSpPr/>
          <p:nvPr/>
        </p:nvSpPr>
        <p:spPr>
          <a:xfrm>
            <a:off x="-6782" y="-8305"/>
            <a:ext cx="12201939" cy="116046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7E0320-F79C-3B46-BE17-03E29EFE275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03233" y="377688"/>
            <a:ext cx="11174387" cy="883666"/>
          </a:xfrm>
        </p:spPr>
        <p:txBody>
          <a:bodyPr>
            <a:noAutofit/>
          </a:bodyPr>
          <a:lstStyle>
            <a:lvl1pPr>
              <a:defRPr sz="35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21E6825-4ADB-4046-805F-23ADDDCA0E2B}"/>
              </a:ext>
            </a:extLst>
          </p:cNvPr>
          <p:cNvSpPr/>
          <p:nvPr userDrawn="1"/>
        </p:nvSpPr>
        <p:spPr>
          <a:xfrm>
            <a:off x="1751211" y="1813506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E787688-92FC-034B-9EE0-7D88C5556919}"/>
              </a:ext>
            </a:extLst>
          </p:cNvPr>
          <p:cNvCxnSpPr/>
          <p:nvPr userDrawn="1"/>
        </p:nvCxnSpPr>
        <p:spPr>
          <a:xfrm>
            <a:off x="1276350" y="258465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DEE947-0818-3245-A202-52BD0F5B8C08}"/>
              </a:ext>
            </a:extLst>
          </p:cNvPr>
          <p:cNvCxnSpPr/>
          <p:nvPr userDrawn="1"/>
        </p:nvCxnSpPr>
        <p:spPr>
          <a:xfrm>
            <a:off x="5331515" y="258465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0E9C8AC-8AD7-3940-8EF1-2CA30256A3AE}"/>
              </a:ext>
            </a:extLst>
          </p:cNvPr>
          <p:cNvCxnSpPr/>
          <p:nvPr userDrawn="1"/>
        </p:nvCxnSpPr>
        <p:spPr>
          <a:xfrm>
            <a:off x="9437578" y="258465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5FD68BD9-5CD9-7A4A-BABD-0A9E824874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4379" y="265817"/>
            <a:ext cx="11143259" cy="377825"/>
          </a:xfrm>
        </p:spPr>
        <p:txBody>
          <a:bodyPr>
            <a:noAutofit/>
          </a:bodyPr>
          <a:lstStyle>
            <a:lvl1pPr>
              <a:buNone/>
              <a:defRPr sz="15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ENTER YOUR SUBTITLE ALL-CAPS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852D0E0-2963-6D41-B973-2FA101FBD6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97507" y="1937707"/>
            <a:ext cx="287338" cy="361950"/>
          </a:xfrm>
        </p:spPr>
        <p:txBody>
          <a:bodyPr anchor="ctr"/>
          <a:lstStyle>
            <a:lvl1pPr marL="9525" indent="-9525" algn="ctr">
              <a:buNone/>
              <a:tabLst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3CEE7091-C6CC-7E4E-982C-70CAE3B3A885}"/>
              </a:ext>
            </a:extLst>
          </p:cNvPr>
          <p:cNvSpPr/>
          <p:nvPr userDrawn="1"/>
        </p:nvSpPr>
        <p:spPr>
          <a:xfrm>
            <a:off x="5814163" y="1813506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sp>
        <p:nvSpPr>
          <p:cNvPr id="48" name="Text Placeholder 43">
            <a:extLst>
              <a:ext uri="{FF2B5EF4-FFF2-40B4-BE49-F238E27FC236}">
                <a16:creationId xmlns:a16="http://schemas.microsoft.com/office/drawing/2014/main" id="{6B80AD42-B019-154B-944C-39626896A7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60459" y="1937707"/>
            <a:ext cx="287338" cy="361950"/>
          </a:xfrm>
        </p:spPr>
        <p:txBody>
          <a:bodyPr anchor="ctr"/>
          <a:lstStyle>
            <a:lvl1pPr marL="9525" indent="-9525" algn="ctr">
              <a:buNone/>
              <a:tabLst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6B24090-F46C-7846-857E-10992A03ED7E}"/>
              </a:ext>
            </a:extLst>
          </p:cNvPr>
          <p:cNvSpPr/>
          <p:nvPr userDrawn="1"/>
        </p:nvSpPr>
        <p:spPr>
          <a:xfrm>
            <a:off x="9895969" y="1813506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518AB753-6316-3546-AF61-D6BFA84B9F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42265" y="1937707"/>
            <a:ext cx="287338" cy="361950"/>
          </a:xfrm>
        </p:spPr>
        <p:txBody>
          <a:bodyPr anchor="ctr"/>
          <a:lstStyle>
            <a:lvl1pPr marL="9525" indent="-9525" algn="ctr">
              <a:buNone/>
              <a:tabLst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4" name="object 14">
            <a:extLst>
              <a:ext uri="{FF2B5EF4-FFF2-40B4-BE49-F238E27FC236}">
                <a16:creationId xmlns:a16="http://schemas.microsoft.com/office/drawing/2014/main" id="{1C69DED8-643C-6E49-A069-700362109F72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rgbClr val="0052DB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31AA08D-438E-294D-B233-36A79EB9AE71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B6BB682-8B16-0D4F-B52B-20D85F1EC7C3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object 3">
            <a:extLst>
              <a:ext uri="{FF2B5EF4-FFF2-40B4-BE49-F238E27FC236}">
                <a16:creationId xmlns:a16="http://schemas.microsoft.com/office/drawing/2014/main" id="{79AB6187-F2A0-FC46-B74D-0A946665D99C}"/>
              </a:ext>
            </a:extLst>
          </p:cNvPr>
          <p:cNvSpPr/>
          <p:nvPr userDrawn="1"/>
        </p:nvSpPr>
        <p:spPr>
          <a:xfrm>
            <a:off x="-1811" y="1152158"/>
            <a:ext cx="12201939" cy="90512"/>
          </a:xfrm>
          <a:custGeom>
            <a:avLst/>
            <a:gdLst/>
            <a:ahLst/>
            <a:cxnLst/>
            <a:rect l="l" t="t" r="r" b="b"/>
            <a:pathLst>
              <a:path w="14630400" h="132715">
                <a:moveTo>
                  <a:pt x="0" y="132575"/>
                </a:moveTo>
                <a:lnTo>
                  <a:pt x="14630400" y="132575"/>
                </a:lnTo>
                <a:lnTo>
                  <a:pt x="14630400" y="0"/>
                </a:lnTo>
                <a:lnTo>
                  <a:pt x="0" y="0"/>
                </a:lnTo>
                <a:lnTo>
                  <a:pt x="0" y="132575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EC6BD2AD-8BC1-D545-A546-A81143DF218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25813" y="2894013"/>
            <a:ext cx="2943409" cy="2811825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77252CB-FF70-DD43-9F31-90F0E6401DC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714229" y="2894013"/>
            <a:ext cx="2943409" cy="2811825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6085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bject 2">
            <a:extLst>
              <a:ext uri="{FF2B5EF4-FFF2-40B4-BE49-F238E27FC236}">
                <a16:creationId xmlns:a16="http://schemas.microsoft.com/office/drawing/2014/main" id="{AF9EEA82-5990-F847-8B4D-E725893922FD}"/>
              </a:ext>
            </a:extLst>
          </p:cNvPr>
          <p:cNvSpPr/>
          <p:nvPr userDrawn="1"/>
        </p:nvSpPr>
        <p:spPr>
          <a:xfrm>
            <a:off x="47989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52" name="object 2">
            <a:extLst>
              <a:ext uri="{FF2B5EF4-FFF2-40B4-BE49-F238E27FC236}">
                <a16:creationId xmlns:a16="http://schemas.microsoft.com/office/drawing/2014/main" id="{15E19BCA-6990-FF4D-BF2F-57B5929A6AB4}"/>
              </a:ext>
            </a:extLst>
          </p:cNvPr>
          <p:cNvSpPr/>
          <p:nvPr userDrawn="1"/>
        </p:nvSpPr>
        <p:spPr>
          <a:xfrm>
            <a:off x="72881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53" name="object 2">
            <a:extLst>
              <a:ext uri="{FF2B5EF4-FFF2-40B4-BE49-F238E27FC236}">
                <a16:creationId xmlns:a16="http://schemas.microsoft.com/office/drawing/2014/main" id="{39124CAF-DA73-9D41-A0F0-4525946FEACF}"/>
              </a:ext>
            </a:extLst>
          </p:cNvPr>
          <p:cNvSpPr/>
          <p:nvPr userDrawn="1"/>
        </p:nvSpPr>
        <p:spPr>
          <a:xfrm>
            <a:off x="9764600" y="0"/>
            <a:ext cx="242740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54" name="object 2">
            <a:extLst>
              <a:ext uri="{FF2B5EF4-FFF2-40B4-BE49-F238E27FC236}">
                <a16:creationId xmlns:a16="http://schemas.microsoft.com/office/drawing/2014/main" id="{4913DA6F-DBCF-0141-B7AD-DBA48355ABDB}"/>
              </a:ext>
            </a:extLst>
          </p:cNvPr>
          <p:cNvSpPr/>
          <p:nvPr userDrawn="1"/>
        </p:nvSpPr>
        <p:spPr>
          <a:xfrm>
            <a:off x="0" y="0"/>
            <a:ext cx="23280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58" name="object 2">
            <a:extLst>
              <a:ext uri="{FF2B5EF4-FFF2-40B4-BE49-F238E27FC236}">
                <a16:creationId xmlns:a16="http://schemas.microsoft.com/office/drawing/2014/main" id="{E00BF257-0D6D-8141-A7E4-83D491757120}"/>
              </a:ext>
            </a:extLst>
          </p:cNvPr>
          <p:cNvSpPr/>
          <p:nvPr userDrawn="1"/>
        </p:nvSpPr>
        <p:spPr>
          <a:xfrm>
            <a:off x="23097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B31E5A3-020D-7E4F-A87B-5A45BF3BB613}"/>
              </a:ext>
            </a:extLst>
          </p:cNvPr>
          <p:cNvCxnSpPr>
            <a:cxnSpLocks/>
          </p:cNvCxnSpPr>
          <p:nvPr userDrawn="1"/>
        </p:nvCxnSpPr>
        <p:spPr>
          <a:xfrm>
            <a:off x="390593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D76473E-B6B4-964B-B0EC-72FDC57362A2}"/>
              </a:ext>
            </a:extLst>
          </p:cNvPr>
          <p:cNvCxnSpPr>
            <a:cxnSpLocks/>
          </p:cNvCxnSpPr>
          <p:nvPr userDrawn="1"/>
        </p:nvCxnSpPr>
        <p:spPr>
          <a:xfrm>
            <a:off x="2779874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57E0E07-3915-B04B-8AFC-0F7840CB2A08}"/>
              </a:ext>
            </a:extLst>
          </p:cNvPr>
          <p:cNvCxnSpPr>
            <a:cxnSpLocks/>
          </p:cNvCxnSpPr>
          <p:nvPr userDrawn="1"/>
        </p:nvCxnSpPr>
        <p:spPr>
          <a:xfrm>
            <a:off x="5308117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B8BAAAA-1FC8-504B-8F64-E895C8F23CD0}"/>
              </a:ext>
            </a:extLst>
          </p:cNvPr>
          <p:cNvCxnSpPr>
            <a:cxnSpLocks/>
          </p:cNvCxnSpPr>
          <p:nvPr userDrawn="1"/>
        </p:nvCxnSpPr>
        <p:spPr>
          <a:xfrm>
            <a:off x="7755482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2251DFE-9E58-6E44-BFE8-816852ACB3C8}"/>
              </a:ext>
            </a:extLst>
          </p:cNvPr>
          <p:cNvCxnSpPr>
            <a:cxnSpLocks/>
          </p:cNvCxnSpPr>
          <p:nvPr userDrawn="1"/>
        </p:nvCxnSpPr>
        <p:spPr>
          <a:xfrm>
            <a:off x="10243938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ED9459-6CCA-8A4F-925C-EE8B944C3E81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42321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E4C36B83-1666-F442-9A9A-8D7FD9AB45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625972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593A6492-91F9-0E4D-ADAB-7C1320DB190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5125568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EBBEBFD-0D8B-494F-9069-98CE3ACC2FD0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7605292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3D48B941-4416-AE48-89CF-A7CE72EFEE49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10052787" y="1500435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0" name="object 14">
            <a:extLst>
              <a:ext uri="{FF2B5EF4-FFF2-40B4-BE49-F238E27FC236}">
                <a16:creationId xmlns:a16="http://schemas.microsoft.com/office/drawing/2014/main" id="{9850939C-CC9F-424C-B270-A177E64B99E9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ED66A23-7982-7B43-8947-A4D2ECCAF931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43141BE-F63B-7E4D-A54E-9706B74501B9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F340385-6A4B-664A-8CBF-3D149D520505}"/>
              </a:ext>
            </a:extLst>
          </p:cNvPr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37" name="object 2">
              <a:extLst>
                <a:ext uri="{FF2B5EF4-FFF2-40B4-BE49-F238E27FC236}">
                  <a16:creationId xmlns:a16="http://schemas.microsoft.com/office/drawing/2014/main" id="{8B9E3A6C-84CD-5A4B-B2CE-DB99E2473091}"/>
                </a:ext>
              </a:extLst>
            </p:cNvPr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">
              <a:extLst>
                <a:ext uri="{FF2B5EF4-FFF2-40B4-BE49-F238E27FC236}">
                  <a16:creationId xmlns:a16="http://schemas.microsoft.com/office/drawing/2014/main" id="{3F727E51-840E-D54F-AA7D-03BAE398CBE0}"/>
                </a:ext>
              </a:extLst>
            </p:cNvPr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3" name="Title 23">
            <a:extLst>
              <a:ext uri="{FF2B5EF4-FFF2-40B4-BE49-F238E27FC236}">
                <a16:creationId xmlns:a16="http://schemas.microsoft.com/office/drawing/2014/main" id="{78D9CE9E-B3F6-B24C-9944-5A28362BC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10"/>
            <a:ext cx="10973168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E45044D-F7AC-1B48-AED7-644AA4D846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4329" y="2347299"/>
            <a:ext cx="1974420" cy="3772563"/>
          </a:xfrm>
        </p:spPr>
        <p:txBody>
          <a:bodyPr>
            <a:noAutofit/>
          </a:bodyPr>
          <a:lstStyle>
            <a:lvl1pPr marL="114300" indent="-114300">
              <a:tabLst/>
              <a:defRPr sz="15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D8F0D0B-E386-F94A-AA8F-FA85F2657F8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572622" y="2347299"/>
            <a:ext cx="1974420" cy="3772563"/>
          </a:xfrm>
        </p:spPr>
        <p:txBody>
          <a:bodyPr>
            <a:noAutofit/>
          </a:bodyPr>
          <a:lstStyle>
            <a:lvl1pPr marL="114300" indent="-114300">
              <a:tabLst/>
              <a:defRPr sz="15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ED50968E-BD7F-0C40-8F2F-66F2991B2FA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059105" y="2347299"/>
            <a:ext cx="1974420" cy="3772563"/>
          </a:xfrm>
        </p:spPr>
        <p:txBody>
          <a:bodyPr>
            <a:noAutofit/>
          </a:bodyPr>
          <a:lstStyle>
            <a:lvl1pPr marL="114300" indent="-114300">
              <a:tabLst/>
              <a:defRPr sz="15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24F02261-B273-F946-AB2E-C254002BD07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548305" y="2347299"/>
            <a:ext cx="1974420" cy="3772563"/>
          </a:xfrm>
        </p:spPr>
        <p:txBody>
          <a:bodyPr>
            <a:noAutofit/>
          </a:bodyPr>
          <a:lstStyle>
            <a:lvl1pPr marL="114300" indent="-114300">
              <a:tabLst/>
              <a:defRPr sz="15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2EEA8C-6586-F24F-B912-11A8BE7693B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991089" y="2347299"/>
            <a:ext cx="1974420" cy="3772563"/>
          </a:xfrm>
        </p:spPr>
        <p:txBody>
          <a:bodyPr>
            <a:noAutofit/>
          </a:bodyPr>
          <a:lstStyle>
            <a:lvl1pPr marL="114300" indent="-114300">
              <a:tabLst/>
              <a:defRPr sz="15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47632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5794873" y="0"/>
            <a:ext cx="6397128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FFFAC9B-4C83-2646-A78A-13FFD1BED6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3576" y="2208245"/>
            <a:ext cx="5346814" cy="3915333"/>
          </a:xfrm>
        </p:spPr>
        <p:txBody>
          <a:bodyPr>
            <a:noAutofit/>
          </a:bodyPr>
          <a:lstStyle>
            <a:lvl1pPr marL="114300" indent="-114300"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7E0320-F79C-3B46-BE17-03E29EFE275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324076" y="1633403"/>
            <a:ext cx="4762824" cy="492492"/>
          </a:xfrm>
        </p:spPr>
        <p:txBody>
          <a:bodyPr>
            <a:noAutofit/>
          </a:bodyPr>
          <a:lstStyle>
            <a:lvl1pPr algn="l">
              <a:defRPr sz="35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6B24090-F46C-7846-857E-10992A03ED7E}"/>
              </a:ext>
            </a:extLst>
          </p:cNvPr>
          <p:cNvSpPr/>
          <p:nvPr userDrawn="1"/>
        </p:nvSpPr>
        <p:spPr>
          <a:xfrm>
            <a:off x="6410011" y="1134188"/>
            <a:ext cx="412305" cy="42340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j-lt"/>
            </a:endParaRP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518AB753-6316-3546-AF61-D6BFA84B9F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04050" y="1222243"/>
            <a:ext cx="211536" cy="273638"/>
          </a:xfrm>
        </p:spPr>
        <p:txBody>
          <a:bodyPr anchor="ctr"/>
          <a:lstStyle>
            <a:lvl1pPr algn="ctr">
              <a:buNone/>
              <a:defRPr sz="2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4516C56-B7D0-2043-88BA-8E3EAEBDB88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-1"/>
            <a:ext cx="5794375" cy="66040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object 14">
            <a:extLst>
              <a:ext uri="{FF2B5EF4-FFF2-40B4-BE49-F238E27FC236}">
                <a16:creationId xmlns:a16="http://schemas.microsoft.com/office/drawing/2014/main" id="{482D10F7-2B28-8F42-B116-5443A322C40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09FAFE-F71C-C545-B273-327A157A0319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2830B3-62CE-324A-95A1-276C02A173C4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08103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CD18E84-1055-444B-B07B-8F65FEBD712B}"/>
              </a:ext>
            </a:extLst>
          </p:cNvPr>
          <p:cNvSpPr/>
          <p:nvPr userDrawn="1"/>
        </p:nvSpPr>
        <p:spPr>
          <a:xfrm>
            <a:off x="0" y="0"/>
            <a:ext cx="4094922" cy="6741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CF4775-257A-094B-9B35-AF76CEE301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2158" y="461708"/>
            <a:ext cx="2881785" cy="2945079"/>
          </a:xfrm>
        </p:spPr>
        <p:txBody>
          <a:bodyPr>
            <a:noAutofit/>
          </a:bodyPr>
          <a:lstStyle>
            <a:lvl1pPr marL="0" indent="0">
              <a:buNone/>
              <a:tabLst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92150" indent="-234950">
              <a:buFont typeface="Courier New" panose="02070309020205020404" pitchFamily="49" charset="0"/>
              <a:buChar char="o"/>
              <a:tabLst/>
              <a:defRPr sz="2400">
                <a:solidFill>
                  <a:schemeClr val="bg1"/>
                </a:solidFill>
              </a:defRPr>
            </a:lvl2pPr>
            <a:lvl3pPr marL="1154113" indent="-239713">
              <a:buFont typeface="Courier New" panose="02070309020205020404" pitchFamily="49" charset="0"/>
              <a:buChar char="o"/>
              <a:tabLst/>
              <a:defRPr sz="2300">
                <a:solidFill>
                  <a:schemeClr val="bg1"/>
                </a:solidFill>
              </a:defRPr>
            </a:lvl3pPr>
            <a:lvl4pPr marL="1603375" indent="-231775">
              <a:buFont typeface="Courier New" panose="02070309020205020404" pitchFamily="49" charset="0"/>
              <a:buChar char="o"/>
              <a:tabLst/>
              <a:defRPr sz="2200">
                <a:solidFill>
                  <a:schemeClr val="bg1"/>
                </a:solidFill>
              </a:defRPr>
            </a:lvl4pPr>
            <a:lvl5pPr marL="2065338" indent="-236538">
              <a:buFont typeface="Courier New" panose="02070309020205020404" pitchFamily="49" charset="0"/>
              <a:buChar char="o"/>
              <a:tabLst/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2640D3-C16E-3640-ADAB-6A1348541A32}"/>
              </a:ext>
            </a:extLst>
          </p:cNvPr>
          <p:cNvSpPr/>
          <p:nvPr userDrawn="1"/>
        </p:nvSpPr>
        <p:spPr>
          <a:xfrm>
            <a:off x="3484479" y="-2526"/>
            <a:ext cx="3334709" cy="34093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D7AFB1E-6494-D141-AE24-87F3C83310E9}"/>
              </a:ext>
            </a:extLst>
          </p:cNvPr>
          <p:cNvSpPr/>
          <p:nvPr userDrawn="1"/>
        </p:nvSpPr>
        <p:spPr>
          <a:xfrm>
            <a:off x="3482789" y="3406789"/>
            <a:ext cx="5687716" cy="320177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6C6479F-886E-EF46-AE34-68E3F449F8A4}"/>
              </a:ext>
            </a:extLst>
          </p:cNvPr>
          <p:cNvSpPr/>
          <p:nvPr userDrawn="1"/>
        </p:nvSpPr>
        <p:spPr>
          <a:xfrm>
            <a:off x="9170505" y="3406788"/>
            <a:ext cx="3021495" cy="32017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4FB3F97A-6B5A-4342-AFD3-F66711EB08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7651" y="221366"/>
            <a:ext cx="2559050" cy="290708"/>
          </a:xfrm>
        </p:spPr>
        <p:txBody>
          <a:bodyPr>
            <a:noAutofit/>
          </a:bodyPr>
          <a:lstStyle>
            <a:lvl1pPr>
              <a:buNone/>
              <a:defRPr sz="15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OJECT 1 ALL-CAP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F6077739-6487-3D40-BCAF-9D06A4A9B8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94995" y="221366"/>
            <a:ext cx="2559050" cy="290708"/>
          </a:xfrm>
        </p:spPr>
        <p:txBody>
          <a:bodyPr>
            <a:noAutofit/>
          </a:bodyPr>
          <a:lstStyle>
            <a:lvl1pPr>
              <a:buNone/>
              <a:defRPr sz="15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PROJECT 2 ALL-CAP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96DA42-6DC0-C041-9701-6C97BB14C01C}"/>
              </a:ext>
            </a:extLst>
          </p:cNvPr>
          <p:cNvSpPr/>
          <p:nvPr userDrawn="1"/>
        </p:nvSpPr>
        <p:spPr>
          <a:xfrm>
            <a:off x="6819188" y="-2526"/>
            <a:ext cx="5372811" cy="34093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bject 14">
            <a:extLst>
              <a:ext uri="{FF2B5EF4-FFF2-40B4-BE49-F238E27FC236}">
                <a16:creationId xmlns:a16="http://schemas.microsoft.com/office/drawing/2014/main" id="{B92EC240-4A2E-6E41-A6D9-1435ED038518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6A52DAD-2DF5-784F-86F4-B052C30C59C9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A5DC5AA-25DE-B54B-8882-C8A159B02E27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D382712-3F37-6C45-BF5E-2E97DC1D81B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72169" y="461709"/>
            <a:ext cx="2881785" cy="1549972"/>
          </a:xfrm>
        </p:spPr>
        <p:txBody>
          <a:bodyPr>
            <a:noAutofit/>
          </a:bodyPr>
          <a:lstStyle>
            <a:lvl1pPr marL="0" indent="0">
              <a:buNone/>
              <a:tabLst/>
              <a:defRPr sz="2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92150" indent="-234950">
              <a:buFont typeface="Courier New" panose="02070309020205020404" pitchFamily="49" charset="0"/>
              <a:buChar char="o"/>
              <a:tabLst/>
              <a:defRPr sz="2400">
                <a:solidFill>
                  <a:schemeClr val="bg1"/>
                </a:solidFill>
              </a:defRPr>
            </a:lvl2pPr>
            <a:lvl3pPr marL="1154113" indent="-239713">
              <a:buFont typeface="Courier New" panose="02070309020205020404" pitchFamily="49" charset="0"/>
              <a:buChar char="o"/>
              <a:tabLst/>
              <a:defRPr sz="2300">
                <a:solidFill>
                  <a:schemeClr val="bg1"/>
                </a:solidFill>
              </a:defRPr>
            </a:lvl3pPr>
            <a:lvl4pPr marL="1603375" indent="-231775">
              <a:buFont typeface="Courier New" panose="02070309020205020404" pitchFamily="49" charset="0"/>
              <a:buChar char="o"/>
              <a:tabLst/>
              <a:defRPr sz="2200">
                <a:solidFill>
                  <a:schemeClr val="bg1"/>
                </a:solidFill>
              </a:defRPr>
            </a:lvl4pPr>
            <a:lvl5pPr marL="2065338" indent="-236538">
              <a:buFont typeface="Courier New" panose="02070309020205020404" pitchFamily="49" charset="0"/>
              <a:buChar char="o"/>
              <a:tabLst/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oject Name</a:t>
            </a:r>
          </a:p>
        </p:txBody>
      </p:sp>
    </p:spTree>
    <p:extLst>
      <p:ext uri="{BB962C8B-B14F-4D97-AF65-F5344CB8AC3E}">
        <p14:creationId xmlns:p14="http://schemas.microsoft.com/office/powerpoint/2010/main" val="368394952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Blocks with Caption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CD18E84-1055-444B-B07B-8F65FEBD712B}"/>
              </a:ext>
            </a:extLst>
          </p:cNvPr>
          <p:cNvSpPr/>
          <p:nvPr userDrawn="1"/>
        </p:nvSpPr>
        <p:spPr>
          <a:xfrm>
            <a:off x="0" y="-3"/>
            <a:ext cx="6096000" cy="660834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5C4A8F5-1301-6E4E-820F-D72B6762D26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3930647" cy="2481897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BD0A1DE-F9D2-3744-8173-0216955AB39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0026648" y="0"/>
            <a:ext cx="2165351" cy="2481897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14500EC-100B-6B48-9F07-7540A86AED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0026648" y="2487614"/>
            <a:ext cx="2165352" cy="2260900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A05EE176-26A1-7843-94E4-D20577BD4EE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516813" y="2487612"/>
            <a:ext cx="2509834" cy="2246295"/>
          </a:xfrm>
        </p:spPr>
        <p:txBody>
          <a:bodyPr/>
          <a:lstStyle/>
          <a:p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7D9E9228-6638-AA44-A5ED-3C4AFC6A1C9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2487614"/>
            <a:ext cx="1420813" cy="2246296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E6B28C88-6157-0040-A34D-1B7C3498927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6000" y="4748514"/>
            <a:ext cx="3357563" cy="1870115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57A7E1FF-43C3-2244-A39D-E5F7A51717D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426575" y="4754226"/>
            <a:ext cx="2765425" cy="1879007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itle 7">
            <a:extLst>
              <a:ext uri="{FF2B5EF4-FFF2-40B4-BE49-F238E27FC236}">
                <a16:creationId xmlns:a16="http://schemas.microsoft.com/office/drawing/2014/main" id="{E9143C3A-093E-5440-AA5D-A2EFCB51A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402" y="541004"/>
            <a:ext cx="5334730" cy="1946610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lang="en-US" sz="35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E1DBF8FF-44E7-8D4C-BC04-05EE0FB09AC8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6C49D12-E62B-7741-894A-4AD25DC6664F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9A44C63-515E-7246-AB24-6003C63CDFCA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FE317A8-FDC7-5C4D-9548-42A505EE7E9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6401" y="2926079"/>
            <a:ext cx="5334731" cy="3242945"/>
          </a:xfrm>
        </p:spPr>
        <p:txBody>
          <a:bodyPr>
            <a:noAutofit/>
          </a:bodyPr>
          <a:lstStyle>
            <a:lvl1pPr marL="114300" indent="-114300"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20211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Blocks with Captio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FA975E8A-74D8-C04B-8820-1EBA8392534D}"/>
              </a:ext>
            </a:extLst>
          </p:cNvPr>
          <p:cNvSpPr/>
          <p:nvPr userDrawn="1"/>
        </p:nvSpPr>
        <p:spPr>
          <a:xfrm>
            <a:off x="0" y="2133600"/>
            <a:ext cx="6082748" cy="2291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AD5376B-E9D5-0A40-9E54-E47AA20EBA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2642" y="2740817"/>
            <a:ext cx="5840412" cy="1349375"/>
          </a:xfrm>
        </p:spPr>
        <p:txBody>
          <a:bodyPr>
            <a:noAutofit/>
          </a:bodyPr>
          <a:lstStyle>
            <a:lvl1pPr marL="114300" indent="-114300">
              <a:tabLst/>
              <a:defRPr sz="15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2DDF741-4619-3147-914E-918E4E745100}"/>
              </a:ext>
            </a:extLst>
          </p:cNvPr>
          <p:cNvSpPr/>
          <p:nvPr userDrawn="1"/>
        </p:nvSpPr>
        <p:spPr>
          <a:xfrm>
            <a:off x="0" y="1953"/>
            <a:ext cx="6082748" cy="21273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9C2A715-1DC8-3541-A6B0-C65AA36724C3}"/>
              </a:ext>
            </a:extLst>
          </p:cNvPr>
          <p:cNvSpPr/>
          <p:nvPr userDrawn="1"/>
        </p:nvSpPr>
        <p:spPr>
          <a:xfrm>
            <a:off x="0" y="4431075"/>
            <a:ext cx="6082748" cy="21772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29" name="Picture Placeholder 9">
            <a:extLst>
              <a:ext uri="{FF2B5EF4-FFF2-40B4-BE49-F238E27FC236}">
                <a16:creationId xmlns:a16="http://schemas.microsoft.com/office/drawing/2014/main" id="{59C11872-6892-784E-86B3-6982F896E45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36496" y="0"/>
            <a:ext cx="3455504" cy="20847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0" name="Picture Placeholder 9">
            <a:extLst>
              <a:ext uri="{FF2B5EF4-FFF2-40B4-BE49-F238E27FC236}">
                <a16:creationId xmlns:a16="http://schemas.microsoft.com/office/drawing/2014/main" id="{B1111639-D06C-A04A-A177-6AF17AFA8DE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82747" y="0"/>
            <a:ext cx="2653749" cy="20847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1" name="Picture Placeholder 9">
            <a:extLst>
              <a:ext uri="{FF2B5EF4-FFF2-40B4-BE49-F238E27FC236}">
                <a16:creationId xmlns:a16="http://schemas.microsoft.com/office/drawing/2014/main" id="{4E3761BD-4C97-2E4D-81DC-7555C01A83F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82747" y="2090765"/>
            <a:ext cx="3631269" cy="21474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753F2BAC-8853-E046-8124-933C9A25CBE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714016" y="2090764"/>
            <a:ext cx="2493818" cy="284465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47A7B0CD-6082-594C-A8AF-AB6FEDBBA6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82747" y="4238401"/>
            <a:ext cx="3631269" cy="236994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35" name="Picture Placeholder 9">
            <a:extLst>
              <a:ext uri="{FF2B5EF4-FFF2-40B4-BE49-F238E27FC236}">
                <a16:creationId xmlns:a16="http://schemas.microsoft.com/office/drawing/2014/main" id="{BC1F2C4C-D74F-9641-A92D-6B8EF605E9E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714016" y="4945961"/>
            <a:ext cx="2493818" cy="166238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6B826EBB-F734-8845-873F-548D7E6A93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2643" y="106534"/>
            <a:ext cx="5840482" cy="365126"/>
          </a:xfrm>
        </p:spPr>
        <p:txBody>
          <a:bodyPr anchor="ctr">
            <a:noAutofit/>
          </a:bodyPr>
          <a:lstStyle>
            <a:lvl1pPr>
              <a:buNone/>
              <a:defRPr sz="2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 ALL-CAP 1</a:t>
            </a:r>
          </a:p>
        </p:txBody>
      </p:sp>
      <p:sp>
        <p:nvSpPr>
          <p:cNvPr id="24" name="Text Placeholder 50">
            <a:extLst>
              <a:ext uri="{FF2B5EF4-FFF2-40B4-BE49-F238E27FC236}">
                <a16:creationId xmlns:a16="http://schemas.microsoft.com/office/drawing/2014/main" id="{1DCAE723-DF56-0041-A237-3300B434206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2643" y="2238924"/>
            <a:ext cx="5840482" cy="365126"/>
          </a:xfrm>
        </p:spPr>
        <p:txBody>
          <a:bodyPr anchor="ctr">
            <a:noAutofit/>
          </a:bodyPr>
          <a:lstStyle>
            <a:lvl1pPr>
              <a:buNone/>
              <a:defRPr sz="2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 ALL-CAP 2</a:t>
            </a:r>
          </a:p>
        </p:txBody>
      </p:sp>
      <p:sp>
        <p:nvSpPr>
          <p:cNvPr id="27" name="Text Placeholder 50">
            <a:extLst>
              <a:ext uri="{FF2B5EF4-FFF2-40B4-BE49-F238E27FC236}">
                <a16:creationId xmlns:a16="http://schemas.microsoft.com/office/drawing/2014/main" id="{6BBDBCC1-6D71-5F40-91C8-28F08666DC7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2643" y="4570294"/>
            <a:ext cx="5840482" cy="365126"/>
          </a:xfrm>
        </p:spPr>
        <p:txBody>
          <a:bodyPr anchor="ctr">
            <a:noAutofit/>
          </a:bodyPr>
          <a:lstStyle>
            <a:lvl1pPr>
              <a:buNone/>
              <a:defRPr sz="2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 ALL-CAP 3</a:t>
            </a:r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7565DC0F-34B9-764F-9BED-8CE52E32BDD4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22E514F-1A1E-4345-B515-62AB97A8C5BA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14105E9-038A-0949-9598-6A3CCED21239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DA87707-5C82-C94A-B7AB-9F4E95B5CD7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12642" y="607254"/>
            <a:ext cx="5840412" cy="1349375"/>
          </a:xfrm>
        </p:spPr>
        <p:txBody>
          <a:bodyPr>
            <a:noAutofit/>
          </a:bodyPr>
          <a:lstStyle>
            <a:lvl1pPr marL="114300" indent="-114300">
              <a:tabLst/>
              <a:defRPr sz="15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49ED7C81-39BE-7C40-81DB-D9E1E067747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12642" y="5074639"/>
            <a:ext cx="5840412" cy="1349375"/>
          </a:xfrm>
        </p:spPr>
        <p:txBody>
          <a:bodyPr>
            <a:noAutofit/>
          </a:bodyPr>
          <a:lstStyle>
            <a:lvl1pPr marL="114300" indent="-114300">
              <a:tabLst/>
              <a:defRPr sz="1500">
                <a:solidFill>
                  <a:schemeClr val="bg1"/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06501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ttern with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3FA00CF5-0739-3E48-A7D2-EF529F102C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8841" y="0"/>
            <a:ext cx="4433159" cy="4437264"/>
          </a:xfrm>
          <a:prstGeom prst="rect">
            <a:avLst/>
          </a:prstGeom>
        </p:spPr>
      </p:pic>
      <p:pic>
        <p:nvPicPr>
          <p:cNvPr id="8" name="Picture 7" descr="Diagram, venn diagram&#10;&#10;Description automatically generated">
            <a:extLst>
              <a:ext uri="{FF2B5EF4-FFF2-40B4-BE49-F238E27FC236}">
                <a16:creationId xmlns:a16="http://schemas.microsoft.com/office/drawing/2014/main" id="{261F7FD4-BA91-614D-AD6C-C7A4601D15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8841" y="4398836"/>
            <a:ext cx="2214221" cy="2216271"/>
          </a:xfrm>
          <a:prstGeom prst="rect">
            <a:avLst/>
          </a:prstGeom>
        </p:spPr>
      </p:pic>
      <p:pic>
        <p:nvPicPr>
          <p:cNvPr id="17" name="Picture 16" descr="Shape&#10;&#10;Description automatically generated">
            <a:extLst>
              <a:ext uri="{FF2B5EF4-FFF2-40B4-BE49-F238E27FC236}">
                <a16:creationId xmlns:a16="http://schemas.microsoft.com/office/drawing/2014/main" id="{820CB2B6-6694-594D-8A7B-B25E5C82EE5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3062" y="4398836"/>
            <a:ext cx="2218938" cy="2218938"/>
          </a:xfrm>
          <a:prstGeom prst="rect">
            <a:avLst/>
          </a:prstGeom>
        </p:spPr>
      </p:pic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A728BD0-5F1F-E54C-B006-FFBE2BF34149}"/>
              </a:ext>
            </a:extLst>
          </p:cNvPr>
          <p:cNvSpPr/>
          <p:nvPr userDrawn="1"/>
        </p:nvSpPr>
        <p:spPr>
          <a:xfrm>
            <a:off x="0" y="0"/>
            <a:ext cx="7777728" cy="66085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49566-D047-2B49-8DE5-DE967A0DAF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673" y="703110"/>
            <a:ext cx="6263495" cy="5307398"/>
          </a:xfrm>
        </p:spPr>
        <p:txBody>
          <a:bodyPr>
            <a:noAutofit/>
          </a:bodyPr>
          <a:lstStyle>
            <a:lvl1pPr marL="344488" indent="-344488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35137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attern with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hape&#10;&#10;Description automatically generated">
            <a:extLst>
              <a:ext uri="{FF2B5EF4-FFF2-40B4-BE49-F238E27FC236}">
                <a16:creationId xmlns:a16="http://schemas.microsoft.com/office/drawing/2014/main" id="{4745E3E6-5D8C-814C-8069-55EE5966FF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853327" y="3266585"/>
            <a:ext cx="3338671" cy="3341762"/>
          </a:xfrm>
          <a:prstGeom prst="rect">
            <a:avLst/>
          </a:prstGeom>
        </p:spPr>
      </p:pic>
      <p:pic>
        <p:nvPicPr>
          <p:cNvPr id="3" name="Picture 2" descr="Diagram, venn diagram&#10;&#10;Description automatically generated">
            <a:extLst>
              <a:ext uri="{FF2B5EF4-FFF2-40B4-BE49-F238E27FC236}">
                <a16:creationId xmlns:a16="http://schemas.microsoft.com/office/drawing/2014/main" id="{6D152EBC-A5CC-F24B-AF17-E1B08EB33A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3330" y="0"/>
            <a:ext cx="3338670" cy="333867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BA38545-20DD-F14B-86E8-80395E05428E}"/>
              </a:ext>
            </a:extLst>
          </p:cNvPr>
          <p:cNvSpPr/>
          <p:nvPr userDrawn="1"/>
        </p:nvSpPr>
        <p:spPr>
          <a:xfrm>
            <a:off x="0" y="0"/>
            <a:ext cx="8853325" cy="66085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97FDC04-376B-C24D-AF36-923E9A6C03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7673" y="703111"/>
            <a:ext cx="6263495" cy="5307398"/>
          </a:xfrm>
        </p:spPr>
        <p:txBody>
          <a:bodyPr>
            <a:noAutofit/>
          </a:bodyPr>
          <a:lstStyle>
            <a:lvl1pPr marL="233363" indent="-233363">
              <a:tabLst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36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1194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6107977" cy="533223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6107977" cy="533223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EE379AA1-F887-FE8A-28E7-C5C2EC5B3C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2068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5" name="Picture 4" descr="Shape, circle&#10;&#10;Description automatically generated">
            <a:extLst>
              <a:ext uri="{FF2B5EF4-FFF2-40B4-BE49-F238E27FC236}">
                <a16:creationId xmlns:a16="http://schemas.microsoft.com/office/drawing/2014/main" id="{301D1105-328D-7944-8B82-AE3EB2E788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778012" y="-3608"/>
            <a:ext cx="2213816" cy="2215866"/>
          </a:xfrm>
          <a:prstGeom prst="rect">
            <a:avLst/>
          </a:prstGeom>
        </p:spPr>
      </p:pic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BC5BDB84-1C5D-264A-B22B-5718481E8B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280" y="-3608"/>
            <a:ext cx="2215866" cy="2215866"/>
          </a:xfrm>
          <a:prstGeom prst="rect">
            <a:avLst/>
          </a:prstGeom>
        </p:spPr>
      </p:pic>
      <p:pic>
        <p:nvPicPr>
          <p:cNvPr id="15" name="Picture 14" descr="Shape&#10;&#10;Description automatically generated with medium confidence">
            <a:extLst>
              <a:ext uri="{FF2B5EF4-FFF2-40B4-BE49-F238E27FC236}">
                <a16:creationId xmlns:a16="http://schemas.microsoft.com/office/drawing/2014/main" id="{C3B956ED-BFEF-294E-B42B-937A68D6678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775085" y="2209738"/>
            <a:ext cx="2213816" cy="2215866"/>
          </a:xfrm>
          <a:prstGeom prst="rect">
            <a:avLst/>
          </a:prstGeom>
        </p:spPr>
      </p:pic>
      <p:pic>
        <p:nvPicPr>
          <p:cNvPr id="17" name="Picture 16" descr="A picture containing diagram&#10;&#10;Description automatically generated">
            <a:extLst>
              <a:ext uri="{FF2B5EF4-FFF2-40B4-BE49-F238E27FC236}">
                <a16:creationId xmlns:a16="http://schemas.microsoft.com/office/drawing/2014/main" id="{27CF0C2B-1E19-C745-875A-526637B89B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8305" y="2208713"/>
            <a:ext cx="2213816" cy="2215866"/>
          </a:xfrm>
          <a:prstGeom prst="rect">
            <a:avLst/>
          </a:prstGeom>
        </p:spPr>
      </p:pic>
      <p:pic>
        <p:nvPicPr>
          <p:cNvPr id="19" name="Picture 18" descr="Chart, pie chart&#10;&#10;Description automatically generated">
            <a:extLst>
              <a:ext uri="{FF2B5EF4-FFF2-40B4-BE49-F238E27FC236}">
                <a16:creationId xmlns:a16="http://schemas.microsoft.com/office/drawing/2014/main" id="{4A160646-2700-B449-9ECE-CD02C7E9043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3464" y="4423021"/>
            <a:ext cx="2213816" cy="2215866"/>
          </a:xfrm>
          <a:prstGeom prst="rect">
            <a:avLst/>
          </a:prstGeom>
        </p:spPr>
      </p:pic>
      <p:pic>
        <p:nvPicPr>
          <p:cNvPr id="21" name="Picture 20" descr="Shape, circle&#10;&#10;Description automatically generated">
            <a:extLst>
              <a:ext uri="{FF2B5EF4-FFF2-40B4-BE49-F238E27FC236}">
                <a16:creationId xmlns:a16="http://schemas.microsoft.com/office/drawing/2014/main" id="{22E9E4D2-0D15-8F4C-A7FF-A3F1D46182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3800" y="4421641"/>
            <a:ext cx="2218321" cy="222037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5D5DD2-2E19-CA4B-AA8E-4199EABE98B3}"/>
              </a:ext>
            </a:extLst>
          </p:cNvPr>
          <p:cNvSpPr/>
          <p:nvPr userDrawn="1"/>
        </p:nvSpPr>
        <p:spPr>
          <a:xfrm>
            <a:off x="0" y="-1"/>
            <a:ext cx="7782560" cy="66388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49566-D047-2B49-8DE5-DE967A0DAF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673" y="703110"/>
            <a:ext cx="6263495" cy="5307398"/>
          </a:xfrm>
        </p:spPr>
        <p:txBody>
          <a:bodyPr>
            <a:noAutofit/>
          </a:bodyPr>
          <a:lstStyle>
            <a:lvl1pPr marL="344488" indent="-344488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  <a:p>
            <a:pPr lvl="0"/>
            <a:endParaRPr lang="en-US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669612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E9B61688-ACFC-FB45-B95D-48862BE6DF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778012" y="-3608"/>
            <a:ext cx="2213816" cy="2215866"/>
          </a:xfrm>
          <a:prstGeom prst="rect">
            <a:avLst/>
          </a:prstGeom>
        </p:spPr>
      </p:pic>
      <p:pic>
        <p:nvPicPr>
          <p:cNvPr id="16" name="Picture 15" descr="Shape, circle&#10;&#10;Description automatically generated">
            <a:extLst>
              <a:ext uri="{FF2B5EF4-FFF2-40B4-BE49-F238E27FC236}">
                <a16:creationId xmlns:a16="http://schemas.microsoft.com/office/drawing/2014/main" id="{2119715B-ED0C-3845-BC7F-E2A8719BD8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280" y="-3608"/>
            <a:ext cx="2215866" cy="2215866"/>
          </a:xfrm>
          <a:prstGeom prst="rect">
            <a:avLst/>
          </a:prstGeom>
        </p:spPr>
      </p:pic>
      <p:pic>
        <p:nvPicPr>
          <p:cNvPr id="18" name="Picture 17" descr="Shape&#10;&#10;Description automatically generated with medium confidence">
            <a:extLst>
              <a:ext uri="{FF2B5EF4-FFF2-40B4-BE49-F238E27FC236}">
                <a16:creationId xmlns:a16="http://schemas.microsoft.com/office/drawing/2014/main" id="{FE179056-DC08-1349-83A9-914E0634F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775085" y="2209738"/>
            <a:ext cx="2213816" cy="2215866"/>
          </a:xfrm>
          <a:prstGeom prst="rect">
            <a:avLst/>
          </a:prstGeom>
        </p:spPr>
      </p:pic>
      <p:pic>
        <p:nvPicPr>
          <p:cNvPr id="19" name="Picture 18" descr="A picture containing diagram&#10;&#10;Description automatically generated">
            <a:extLst>
              <a:ext uri="{FF2B5EF4-FFF2-40B4-BE49-F238E27FC236}">
                <a16:creationId xmlns:a16="http://schemas.microsoft.com/office/drawing/2014/main" id="{444100EF-3B25-BA45-9308-F115F5DDE4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8305" y="2208713"/>
            <a:ext cx="2213816" cy="2215866"/>
          </a:xfrm>
          <a:prstGeom prst="rect">
            <a:avLst/>
          </a:prstGeom>
        </p:spPr>
      </p:pic>
      <p:pic>
        <p:nvPicPr>
          <p:cNvPr id="20" name="Picture 19" descr="Chart, pie chart&#10;&#10;Description automatically generated">
            <a:extLst>
              <a:ext uri="{FF2B5EF4-FFF2-40B4-BE49-F238E27FC236}">
                <a16:creationId xmlns:a16="http://schemas.microsoft.com/office/drawing/2014/main" id="{6A2D2AD8-E10B-5645-9788-A98E0816509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3464" y="4423021"/>
            <a:ext cx="2213816" cy="2215866"/>
          </a:xfrm>
          <a:prstGeom prst="rect">
            <a:avLst/>
          </a:prstGeom>
        </p:spPr>
      </p:pic>
      <p:pic>
        <p:nvPicPr>
          <p:cNvPr id="21" name="Picture 20" descr="Shape, circle&#10;&#10;Description automatically generated">
            <a:extLst>
              <a:ext uri="{FF2B5EF4-FFF2-40B4-BE49-F238E27FC236}">
                <a16:creationId xmlns:a16="http://schemas.microsoft.com/office/drawing/2014/main" id="{FC5C39EE-9955-1A49-ACF9-6DF45A5C9C6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3800" y="4421641"/>
            <a:ext cx="2218321" cy="222037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11" name="object 14">
            <a:extLst>
              <a:ext uri="{FF2B5EF4-FFF2-40B4-BE49-F238E27FC236}">
                <a16:creationId xmlns:a16="http://schemas.microsoft.com/office/drawing/2014/main" id="{F4ED66D2-49B2-9340-AEEB-222BA246730C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2EFF71-F2BD-C043-A7E4-5F0F6852ACFC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8901BF-3ACD-D647-A3B1-BB843462F352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090E092-A631-CD41-B00D-687A60B8A42A}"/>
              </a:ext>
            </a:extLst>
          </p:cNvPr>
          <p:cNvSpPr/>
          <p:nvPr userDrawn="1"/>
        </p:nvSpPr>
        <p:spPr>
          <a:xfrm>
            <a:off x="0" y="-1"/>
            <a:ext cx="7782560" cy="66388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F6074BF-01F8-874C-A806-EE9EF88EAE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7674" y="703111"/>
            <a:ext cx="6263494" cy="5307398"/>
          </a:xfrm>
        </p:spPr>
        <p:txBody>
          <a:bodyPr>
            <a:noAutofit/>
          </a:bodyPr>
          <a:lstStyle>
            <a:lvl1pPr marL="171450" indent="-171450">
              <a:tabLst/>
              <a:defRPr sz="2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1803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attern with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">
            <a:extLst>
              <a:ext uri="{FF2B5EF4-FFF2-40B4-BE49-F238E27FC236}">
                <a16:creationId xmlns:a16="http://schemas.microsoft.com/office/drawing/2014/main" id="{FDF17AE2-0207-EA43-92B5-DF5BE8A668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535" y="0"/>
            <a:ext cx="11802465" cy="663888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45D5DD2-2E19-CA4B-AA8E-4199EABE98B3}"/>
              </a:ext>
            </a:extLst>
          </p:cNvPr>
          <p:cNvSpPr/>
          <p:nvPr userDrawn="1"/>
        </p:nvSpPr>
        <p:spPr>
          <a:xfrm>
            <a:off x="0" y="-1"/>
            <a:ext cx="7782560" cy="66388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49566-D047-2B49-8DE5-DE967A0DAF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673" y="703110"/>
            <a:ext cx="6263495" cy="5307398"/>
          </a:xfrm>
        </p:spPr>
        <p:txBody>
          <a:bodyPr>
            <a:noAutofit/>
          </a:bodyPr>
          <a:lstStyle>
            <a:lvl1pPr marL="344488" indent="-344488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  <a:p>
            <a:pPr lvl="0"/>
            <a:endParaRPr lang="en-US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959952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attern with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8D452A2-BF8C-B247-842C-3E70087B91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22330" y="2207789"/>
            <a:ext cx="2215865" cy="2215865"/>
          </a:xfrm>
          <a:prstGeom prst="rect">
            <a:avLst/>
          </a:prstGeom>
        </p:spPr>
      </p:pic>
      <p:pic>
        <p:nvPicPr>
          <p:cNvPr id="18" name="Picture 17" descr="Shape, circle&#10;&#10;Description automatically generated">
            <a:extLst>
              <a:ext uri="{FF2B5EF4-FFF2-40B4-BE49-F238E27FC236}">
                <a16:creationId xmlns:a16="http://schemas.microsoft.com/office/drawing/2014/main" id="{00D050FC-9B85-9744-83A4-3956EA752C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2122" y="2208606"/>
            <a:ext cx="2213814" cy="2215864"/>
          </a:xfrm>
          <a:prstGeom prst="rect">
            <a:avLst/>
          </a:prstGeom>
        </p:spPr>
      </p:pic>
      <p:pic>
        <p:nvPicPr>
          <p:cNvPr id="16" name="Picture 15" descr="A picture containing diagram&#10;&#10;Description automatically generated">
            <a:extLst>
              <a:ext uri="{FF2B5EF4-FFF2-40B4-BE49-F238E27FC236}">
                <a16:creationId xmlns:a16="http://schemas.microsoft.com/office/drawing/2014/main" id="{0EEA53EB-6594-A243-8953-40990CD868F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93148" y="-9101"/>
            <a:ext cx="2215864" cy="2217916"/>
          </a:xfrm>
          <a:prstGeom prst="rect">
            <a:avLst/>
          </a:prstGeom>
        </p:spPr>
      </p:pic>
      <p:pic>
        <p:nvPicPr>
          <p:cNvPr id="21" name="Picture 20" descr="Shape&#10;&#10;Description automatically generated">
            <a:extLst>
              <a:ext uri="{FF2B5EF4-FFF2-40B4-BE49-F238E27FC236}">
                <a16:creationId xmlns:a16="http://schemas.microsoft.com/office/drawing/2014/main" id="{43D7F4C2-9656-1E4B-B7B7-3AA0F46A332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93146" y="4395557"/>
            <a:ext cx="2211766" cy="221381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5" name="Picture 4" descr="Shape, circle&#10;&#10;Description automatically generated">
            <a:extLst>
              <a:ext uri="{FF2B5EF4-FFF2-40B4-BE49-F238E27FC236}">
                <a16:creationId xmlns:a16="http://schemas.microsoft.com/office/drawing/2014/main" id="{CF8D6C01-B35A-3D46-894A-E4559F9A00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80" y="-3698"/>
            <a:ext cx="2213815" cy="2215866"/>
          </a:xfrm>
          <a:prstGeom prst="rect">
            <a:avLst/>
          </a:prstGeom>
        </p:spPr>
      </p:pic>
      <p:pic>
        <p:nvPicPr>
          <p:cNvPr id="19" name="Picture 18" descr="Shape&#10;&#10;Description automatically generated">
            <a:extLst>
              <a:ext uri="{FF2B5EF4-FFF2-40B4-BE49-F238E27FC236}">
                <a16:creationId xmlns:a16="http://schemas.microsoft.com/office/drawing/2014/main" id="{6718313F-641C-B144-B0ED-92C528E037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20281" y="4394638"/>
            <a:ext cx="2213815" cy="2213815"/>
          </a:xfrm>
          <a:prstGeom prst="rect">
            <a:avLst/>
          </a:prstGeom>
        </p:spPr>
      </p:pic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45D5DD2-2E19-CA4B-AA8E-4199EABE98B3}"/>
              </a:ext>
            </a:extLst>
          </p:cNvPr>
          <p:cNvSpPr/>
          <p:nvPr userDrawn="1"/>
        </p:nvSpPr>
        <p:spPr>
          <a:xfrm>
            <a:off x="4409440" y="0"/>
            <a:ext cx="7782560" cy="66085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49566-D047-2B49-8DE5-DE967A0DAF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7113" y="703110"/>
            <a:ext cx="6263495" cy="5307398"/>
          </a:xfrm>
        </p:spPr>
        <p:txBody>
          <a:bodyPr>
            <a:noAutofit/>
          </a:bodyPr>
          <a:lstStyle>
            <a:lvl1pPr marL="344488" indent="-344488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25026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attern with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5D5DD2-2E19-CA4B-AA8E-4199EABE98B3}"/>
              </a:ext>
            </a:extLst>
          </p:cNvPr>
          <p:cNvSpPr/>
          <p:nvPr userDrawn="1"/>
        </p:nvSpPr>
        <p:spPr>
          <a:xfrm>
            <a:off x="4409440" y="0"/>
            <a:ext cx="7782560" cy="66085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1A457086-E7DB-C54C-80B7-787A12262D9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68973" y="689247"/>
            <a:ext cx="6263494" cy="5307398"/>
          </a:xfrm>
        </p:spPr>
        <p:txBody>
          <a:bodyPr>
            <a:noAutofit/>
          </a:bodyPr>
          <a:lstStyle>
            <a:lvl1pPr marL="171450" indent="-171450">
              <a:tabLst/>
              <a:defRPr sz="2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8D452A2-BF8C-B247-842C-3E70087B91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22330" y="2207789"/>
            <a:ext cx="2215865" cy="2215865"/>
          </a:xfrm>
          <a:prstGeom prst="rect">
            <a:avLst/>
          </a:prstGeom>
        </p:spPr>
      </p:pic>
      <p:pic>
        <p:nvPicPr>
          <p:cNvPr id="18" name="Picture 17" descr="Shape, circle&#10;&#10;Description automatically generated">
            <a:extLst>
              <a:ext uri="{FF2B5EF4-FFF2-40B4-BE49-F238E27FC236}">
                <a16:creationId xmlns:a16="http://schemas.microsoft.com/office/drawing/2014/main" id="{00D050FC-9B85-9744-83A4-3956EA752C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2122" y="2208606"/>
            <a:ext cx="2213814" cy="2215864"/>
          </a:xfrm>
          <a:prstGeom prst="rect">
            <a:avLst/>
          </a:prstGeom>
        </p:spPr>
      </p:pic>
      <p:pic>
        <p:nvPicPr>
          <p:cNvPr id="16" name="Picture 15" descr="A picture containing diagram&#10;&#10;Description automatically generated">
            <a:extLst>
              <a:ext uri="{FF2B5EF4-FFF2-40B4-BE49-F238E27FC236}">
                <a16:creationId xmlns:a16="http://schemas.microsoft.com/office/drawing/2014/main" id="{0EEA53EB-6594-A243-8953-40990CD868F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93148" y="-9101"/>
            <a:ext cx="2215864" cy="2217916"/>
          </a:xfrm>
          <a:prstGeom prst="rect">
            <a:avLst/>
          </a:prstGeom>
        </p:spPr>
      </p:pic>
      <p:pic>
        <p:nvPicPr>
          <p:cNvPr id="21" name="Picture 20" descr="Shape&#10;&#10;Description automatically generated">
            <a:extLst>
              <a:ext uri="{FF2B5EF4-FFF2-40B4-BE49-F238E27FC236}">
                <a16:creationId xmlns:a16="http://schemas.microsoft.com/office/drawing/2014/main" id="{43D7F4C2-9656-1E4B-B7B7-3AA0F46A332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93146" y="4395557"/>
            <a:ext cx="2211766" cy="221381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5" name="Picture 4" descr="Shape, circle&#10;&#10;Description automatically generated">
            <a:extLst>
              <a:ext uri="{FF2B5EF4-FFF2-40B4-BE49-F238E27FC236}">
                <a16:creationId xmlns:a16="http://schemas.microsoft.com/office/drawing/2014/main" id="{CF8D6C01-B35A-3D46-894A-E4559F9A00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80" y="-3698"/>
            <a:ext cx="2213815" cy="2215866"/>
          </a:xfrm>
          <a:prstGeom prst="rect">
            <a:avLst/>
          </a:prstGeom>
        </p:spPr>
      </p:pic>
      <p:pic>
        <p:nvPicPr>
          <p:cNvPr id="19" name="Picture 18" descr="Shape&#10;&#10;Description automatically generated">
            <a:extLst>
              <a:ext uri="{FF2B5EF4-FFF2-40B4-BE49-F238E27FC236}">
                <a16:creationId xmlns:a16="http://schemas.microsoft.com/office/drawing/2014/main" id="{6718313F-641C-B144-B0ED-92C528E037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20281" y="4394638"/>
            <a:ext cx="2213815" cy="2213815"/>
          </a:xfrm>
          <a:prstGeom prst="rect">
            <a:avLst/>
          </a:prstGeom>
        </p:spPr>
      </p:pic>
      <p:sp>
        <p:nvSpPr>
          <p:cNvPr id="9" name="object 14">
            <a:extLst>
              <a:ext uri="{FF2B5EF4-FFF2-40B4-BE49-F238E27FC236}">
                <a16:creationId xmlns:a16="http://schemas.microsoft.com/office/drawing/2014/main" id="{EBBFEF2E-ABA1-7249-8E3D-9169F3FBFFB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87906-BD43-1745-81F9-112BEEE7005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4480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A9EF8CBE-BC2D-C945-BB43-6C255004EC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865" y="1464"/>
            <a:ext cx="11800135" cy="663757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D5618C4-3B88-634B-AF8F-22B2F393ED06}"/>
              </a:ext>
            </a:extLst>
          </p:cNvPr>
          <p:cNvSpPr/>
          <p:nvPr userDrawn="1"/>
        </p:nvSpPr>
        <p:spPr>
          <a:xfrm>
            <a:off x="0" y="4413956"/>
            <a:ext cx="7760710" cy="227659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A6E2D23-D519-A84C-97F3-710E9A7E7D4D}"/>
              </a:ext>
            </a:extLst>
          </p:cNvPr>
          <p:cNvSpPr/>
          <p:nvPr userDrawn="1"/>
        </p:nvSpPr>
        <p:spPr>
          <a:xfrm>
            <a:off x="0" y="0"/>
            <a:ext cx="7760710" cy="441395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526FB-9DA2-B140-A457-8DD90F1B29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7674" y="703110"/>
            <a:ext cx="5348326" cy="5307398"/>
          </a:xfrm>
        </p:spPr>
        <p:txBody>
          <a:bodyPr>
            <a:noAutofit/>
          </a:bodyPr>
          <a:lstStyle>
            <a:lvl1pPr marL="344488" indent="-344488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53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  <a:p>
            <a:pPr lvl="0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61E3D1-7569-944F-87A2-47F7106560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57382" y="-482309"/>
            <a:ext cx="7555639" cy="7172856"/>
          </a:xfrm>
          <a:prstGeom prst="rect">
            <a:avLst/>
          </a:prstGeom>
        </p:spPr>
      </p:pic>
      <p:sp>
        <p:nvSpPr>
          <p:cNvPr id="13" name="object 14">
            <a:extLst>
              <a:ext uri="{FF2B5EF4-FFF2-40B4-BE49-F238E27FC236}">
                <a16:creationId xmlns:a16="http://schemas.microsoft.com/office/drawing/2014/main" id="{982BA4F4-E28E-DC41-B3BF-D4837A204A8D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080666-7B87-2E41-972A-A14292169ACF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A774E0C-4426-7A4B-A2DB-3FB697C52B26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378155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8EACC420-450E-F44C-A104-8CEE39B2A9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36" y="0"/>
            <a:ext cx="11776364" cy="662420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5A35966-664D-D84E-AE50-9D87895AF381}"/>
              </a:ext>
            </a:extLst>
          </p:cNvPr>
          <p:cNvSpPr/>
          <p:nvPr userDrawn="1"/>
        </p:nvSpPr>
        <p:spPr>
          <a:xfrm>
            <a:off x="-2" y="0"/>
            <a:ext cx="5575301" cy="67371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49566-D047-2B49-8DE5-DE967A0DAF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830" y="645958"/>
            <a:ext cx="4475540" cy="4302560"/>
          </a:xfrm>
        </p:spPr>
        <p:txBody>
          <a:bodyPr>
            <a:noAutofit/>
          </a:bodyPr>
          <a:lstStyle>
            <a:lvl1pPr marL="231775" indent="-231775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3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58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430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02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  <a:p>
            <a:pPr lvl="0"/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101721D2-6A6B-D341-A9EA-9D83D33F423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DED8AF-4B76-6346-972A-94C9E64D86C9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F98A23-FCE6-1242-9D18-98F5FA0F1F9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12442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ttern with Content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icon&#10;&#10;Description automatically generated">
            <a:extLst>
              <a:ext uri="{FF2B5EF4-FFF2-40B4-BE49-F238E27FC236}">
                <a16:creationId xmlns:a16="http://schemas.microsoft.com/office/drawing/2014/main" id="{938FEE1C-A7F3-8A41-8BB0-D3D8104B28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36" y="0"/>
            <a:ext cx="11776364" cy="662420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4BEA6DA-7D42-BE41-A198-62F1A75FD293}"/>
              </a:ext>
            </a:extLst>
          </p:cNvPr>
          <p:cNvSpPr/>
          <p:nvPr userDrawn="1"/>
        </p:nvSpPr>
        <p:spPr>
          <a:xfrm>
            <a:off x="-2" y="0"/>
            <a:ext cx="5575301" cy="673713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49566-D047-2B49-8DE5-DE967A0DAF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830" y="645958"/>
            <a:ext cx="4475540" cy="4302560"/>
          </a:xfrm>
        </p:spPr>
        <p:txBody>
          <a:bodyPr>
            <a:noAutofit/>
          </a:bodyPr>
          <a:lstStyle>
            <a:lvl1pPr marL="231775" indent="-231775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3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58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430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02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  <a:p>
            <a:pPr lvl="0"/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101721D2-6A6B-D341-A9EA-9D83D33F423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DED8AF-4B76-6346-972A-94C9E64D86C9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F98A23-FCE6-1242-9D18-98F5FA0F1F9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79967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ttern with Content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C77FAAFA-762C-E343-8D43-BBC66B4C7A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180" y="0"/>
            <a:ext cx="11791820" cy="663904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5A35966-664D-D84E-AE50-9D87895AF381}"/>
              </a:ext>
            </a:extLst>
          </p:cNvPr>
          <p:cNvSpPr/>
          <p:nvPr userDrawn="1"/>
        </p:nvSpPr>
        <p:spPr>
          <a:xfrm>
            <a:off x="0" y="0"/>
            <a:ext cx="5588000" cy="67371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49566-D047-2B49-8DE5-DE967A0DAF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830" y="645958"/>
            <a:ext cx="4475540" cy="4302560"/>
          </a:xfrm>
        </p:spPr>
        <p:txBody>
          <a:bodyPr>
            <a:noAutofit/>
          </a:bodyPr>
          <a:lstStyle>
            <a:lvl1pPr marL="231775" indent="-231775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3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58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430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02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  <a:p>
            <a:pPr lvl="0"/>
            <a:endParaRPr lang="en-US"/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101721D2-6A6B-D341-A9EA-9D83D33F423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DED8AF-4B76-6346-972A-94C9E64D86C9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F98A23-FCE6-1242-9D18-98F5FA0F1F9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90940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9C89E68-AD30-B749-961D-FCA005F60900}"/>
              </a:ext>
            </a:extLst>
          </p:cNvPr>
          <p:cNvSpPr/>
          <p:nvPr userDrawn="1"/>
        </p:nvSpPr>
        <p:spPr>
          <a:xfrm>
            <a:off x="0" y="0"/>
            <a:ext cx="5565742" cy="67371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BABB134B-255A-664F-971C-0582B14E4A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180" y="0"/>
            <a:ext cx="11791820" cy="663904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D88E59D-4F4A-2F4B-8511-68E354B447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216402"/>
            <a:ext cx="7714348" cy="7055497"/>
          </a:xfrm>
          <a:prstGeom prst="rect">
            <a:avLst/>
          </a:prstGeom>
        </p:spPr>
      </p:pic>
      <p:sp>
        <p:nvSpPr>
          <p:cNvPr id="10" name="object 14">
            <a:extLst>
              <a:ext uri="{FF2B5EF4-FFF2-40B4-BE49-F238E27FC236}">
                <a16:creationId xmlns:a16="http://schemas.microsoft.com/office/drawing/2014/main" id="{101721D2-6A6B-D341-A9EA-9D83D33F4233}"/>
              </a:ext>
            </a:extLst>
          </p:cNvPr>
          <p:cNvSpPr/>
          <p:nvPr userDrawn="1"/>
        </p:nvSpPr>
        <p:spPr>
          <a:xfrm>
            <a:off x="0" y="6608560"/>
            <a:ext cx="12192000" cy="261228"/>
          </a:xfrm>
          <a:custGeom>
            <a:avLst/>
            <a:gdLst/>
            <a:ahLst/>
            <a:cxnLst/>
            <a:rect l="l" t="t" r="r" b="b"/>
            <a:pathLst>
              <a:path w="14630400" h="619759">
                <a:moveTo>
                  <a:pt x="0" y="619366"/>
                </a:moveTo>
                <a:lnTo>
                  <a:pt x="14630400" y="619366"/>
                </a:lnTo>
                <a:lnTo>
                  <a:pt x="14630400" y="0"/>
                </a:lnTo>
                <a:lnTo>
                  <a:pt x="0" y="0"/>
                </a:lnTo>
                <a:lnTo>
                  <a:pt x="0" y="6193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DED8AF-4B76-6346-972A-94C9E64D86C9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&amp; PROPRIETAR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F98A23-FCE6-1242-9D18-98F5FA0F1F98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18C3902-06AC-8A44-93E3-3FA40B5137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18724" y="583059"/>
            <a:ext cx="5764205" cy="4027642"/>
          </a:xfrm>
        </p:spPr>
        <p:txBody>
          <a:bodyPr>
            <a:noAutofit/>
          </a:bodyPr>
          <a:lstStyle>
            <a:lvl1pPr marL="231775" indent="-231775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35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58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430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0250" indent="-171450">
              <a:buFont typeface="Courier New" panose="02070309020205020404" pitchFamily="49" charset="0"/>
              <a:buChar char="o"/>
              <a:tabLst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2396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theme" Target="../theme/theme1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14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oleObject" Target="../embeddings/oleObject1.bin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4F95AF-2496-4632-A158-835CEA47C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4"/>
            </p:custDataLst>
            <p:extLst>
              <p:ext uri="{D42A27DB-BD31-4B8C-83A1-F6EECF244321}">
                <p14:modId xmlns:p14="http://schemas.microsoft.com/office/powerpoint/2010/main" val="139601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5" imgW="443" imgH="443" progId="TCLayout.ActiveDocument.1">
                  <p:embed/>
                </p:oleObj>
              </mc:Choice>
              <mc:Fallback>
                <p:oleObj name="think-cell Slide" r:id="rId115" imgW="443" imgH="44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4F95AF-2496-4632-A158-835CEA47C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1FD0BA-3AA9-459F-A2B0-5B0986A4C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373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  <p:sldLayoutId id="2147483749" r:id="rId89"/>
    <p:sldLayoutId id="2147483750" r:id="rId90"/>
    <p:sldLayoutId id="2147483751" r:id="rId91"/>
    <p:sldLayoutId id="2147483752" r:id="rId92"/>
    <p:sldLayoutId id="2147483753" r:id="rId93"/>
    <p:sldLayoutId id="2147483754" r:id="rId94"/>
    <p:sldLayoutId id="2147483755" r:id="rId95"/>
    <p:sldLayoutId id="2147483756" r:id="rId96"/>
    <p:sldLayoutId id="2147483757" r:id="rId97"/>
    <p:sldLayoutId id="2147483758" r:id="rId98"/>
    <p:sldLayoutId id="2147483759" r:id="rId99"/>
    <p:sldLayoutId id="2147483760" r:id="rId100"/>
    <p:sldLayoutId id="2147483761" r:id="rId101"/>
    <p:sldLayoutId id="2147483762" r:id="rId102"/>
    <p:sldLayoutId id="2147483763" r:id="rId103"/>
    <p:sldLayoutId id="2147483764" r:id="rId104"/>
    <p:sldLayoutId id="2147483765" r:id="rId105"/>
    <p:sldLayoutId id="2147483766" r:id="rId106"/>
    <p:sldLayoutId id="2147483767" r:id="rId107"/>
    <p:sldLayoutId id="2147483768" r:id="rId108"/>
    <p:sldLayoutId id="2147483769" r:id="rId109"/>
    <p:sldLayoutId id="2147483770" r:id="rId110"/>
    <p:sldLayoutId id="2147483771" r:id="rId111"/>
    <p:sldLayoutId id="2147483772" r:id="rId1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133CCF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tabLst/>
        <a:defRPr sz="2800" kern="1200">
          <a:solidFill>
            <a:srgbClr val="133CCF"/>
          </a:solidFill>
          <a:latin typeface="+mn-lt"/>
          <a:ea typeface="+mn-ea"/>
          <a:cs typeface="+mn-cs"/>
        </a:defRPr>
      </a:lvl1pPr>
      <a:lvl2pPr marL="344488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Courier New" panose="02070309020205020404" pitchFamily="49" charset="0"/>
        <a:buChar char="o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2pPr>
      <a:lvl3pPr marL="517525" indent="-173038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3pPr>
      <a:lvl4pPr marL="690563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Wingdings" pitchFamily="2" charset="2"/>
        <a:buChar char="q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4pPr>
      <a:lvl5pPr marL="863600" indent="-173038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Wingdings" pitchFamily="2" charset="2"/>
        <a:buChar char="v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ceowatermandate.org/posts/water-scarcity-water-stress-water-risk-actually-mean/" TargetMode="Externa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7A905-3A3F-EA66-E1BC-3FE678B68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Replenishment applies to Franchise Bottling and Third-Party Manufacturing plants considered to be high water ris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17B041-EE6B-4760-1019-13D8EF1132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262" y="1210962"/>
            <a:ext cx="5937738" cy="341794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sz="2000" b="1">
                <a:solidFill>
                  <a:srgbClr val="00B050"/>
                </a:solidFill>
              </a:rPr>
              <a:t>What does High Water Risk mean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55A1F4C-FCA2-CBFB-69D6-E1B945B85A55}"/>
              </a:ext>
            </a:extLst>
          </p:cNvPr>
          <p:cNvSpPr txBox="1"/>
          <p:nvPr/>
        </p:nvSpPr>
        <p:spPr>
          <a:xfrm>
            <a:off x="158262" y="1694939"/>
            <a:ext cx="573258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solidFill>
                  <a:srgbClr val="0052D0"/>
                </a:solidFill>
              </a:rPr>
              <a:t>“Water risk” refers to the possibility of an entity experiencing a water-related challenge (e.g., water scarcity, water stress, flooding, infrastructure decay, drought)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2CD8DB-202D-01AC-BFF2-981246E2A856}"/>
              </a:ext>
            </a:extLst>
          </p:cNvPr>
          <p:cNvSpPr txBox="1"/>
          <p:nvPr/>
        </p:nvSpPr>
        <p:spPr>
          <a:xfrm>
            <a:off x="158262" y="2575786"/>
            <a:ext cx="5732584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>
                <a:solidFill>
                  <a:srgbClr val="0052D0"/>
                </a:solidFill>
              </a:rPr>
              <a:t>“Water risk for businesses” refers to the ways in which water related challenges potentially undermine business viability. It is commonly categorized into three inter-related types:</a:t>
            </a:r>
          </a:p>
          <a:p>
            <a:endParaRPr lang="en-GB" sz="1400">
              <a:solidFill>
                <a:srgbClr val="0052D0"/>
              </a:solidFill>
            </a:endParaRP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en-GB" sz="1400" i="1">
                <a:solidFill>
                  <a:srgbClr val="0052D0"/>
                </a:solidFill>
              </a:rPr>
              <a:t>Physical</a:t>
            </a:r>
            <a:r>
              <a:rPr lang="en-GB" sz="1400">
                <a:solidFill>
                  <a:srgbClr val="0052D0"/>
                </a:solidFill>
              </a:rPr>
              <a:t> – Having too little water, too much water, water that is unfit for use or inaccessible water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Ø"/>
            </a:pPr>
            <a:endParaRPr lang="en-GB" sz="1400">
              <a:solidFill>
                <a:srgbClr val="0052D0"/>
              </a:solidFill>
            </a:endParaRP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en-GB" sz="1400" i="1">
                <a:solidFill>
                  <a:srgbClr val="0052D0"/>
                </a:solidFill>
              </a:rPr>
              <a:t>Regulatory</a:t>
            </a:r>
            <a:r>
              <a:rPr lang="en-GB" sz="1400">
                <a:solidFill>
                  <a:srgbClr val="0052D0"/>
                </a:solidFill>
              </a:rPr>
              <a:t> – Changing, ineffective or poorly-implemented public water policy and/or regulations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Ø"/>
            </a:pPr>
            <a:endParaRPr lang="en-GB" sz="1400" i="1">
              <a:solidFill>
                <a:srgbClr val="0052D0"/>
              </a:solidFill>
            </a:endParaRP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en-GB" sz="1400" i="1">
                <a:solidFill>
                  <a:srgbClr val="0052D0"/>
                </a:solidFill>
              </a:rPr>
              <a:t>Reputational </a:t>
            </a:r>
            <a:r>
              <a:rPr lang="en-GB" sz="1400">
                <a:solidFill>
                  <a:srgbClr val="0052D0"/>
                </a:solidFill>
              </a:rPr>
              <a:t>– Stakeholder perceptions that a company does not conduct business in a sustainable or responsible fashion with respect to water</a:t>
            </a:r>
          </a:p>
          <a:p>
            <a:endParaRPr lang="en-GB" sz="1400">
              <a:solidFill>
                <a:srgbClr val="0052D0"/>
              </a:solidFill>
            </a:endParaRPr>
          </a:p>
          <a:p>
            <a:r>
              <a:rPr lang="en-GB" sz="1400">
                <a:solidFill>
                  <a:srgbClr val="0052D0"/>
                </a:solidFill>
              </a:rPr>
              <a:t>Source: </a:t>
            </a:r>
            <a:r>
              <a:rPr lang="en-GB" sz="1400">
                <a:solidFill>
                  <a:srgbClr val="0052D0"/>
                </a:solidFill>
                <a:hlinkClick r:id="rId2"/>
              </a:rPr>
              <a:t>What Do “Water Scarcity”, “Water Stress”, and “Water Risk” </a:t>
            </a:r>
          </a:p>
          <a:p>
            <a:r>
              <a:rPr lang="en-GB" sz="1400">
                <a:solidFill>
                  <a:srgbClr val="0052D0"/>
                </a:solidFill>
                <a:hlinkClick r:id="rId2"/>
              </a:rPr>
              <a:t>Actually Mean? - CEO Water Mandate</a:t>
            </a:r>
            <a:endParaRPr lang="en-GB" sz="1400">
              <a:solidFill>
                <a:srgbClr val="0052D0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72F8771-B1B9-54CE-0F83-B17628058FCA}"/>
              </a:ext>
            </a:extLst>
          </p:cNvPr>
          <p:cNvSpPr txBox="1">
            <a:spLocks/>
          </p:cNvSpPr>
          <p:nvPr/>
        </p:nvSpPr>
        <p:spPr>
          <a:xfrm>
            <a:off x="6251331" y="1210962"/>
            <a:ext cx="6251219" cy="34179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  <a:defRPr sz="2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ourier New" panose="02070309020205020404" pitchFamily="49" charset="0"/>
              <a:buChar char="o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pitchFamily="2" charset="2"/>
              <a:buChar char="q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863600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Wingdings" pitchFamily="2" charset="2"/>
              <a:buChar char="v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000" b="1">
                <a:solidFill>
                  <a:srgbClr val="00B050"/>
                </a:solidFill>
              </a:rPr>
              <a:t>How does PepsiCo assess High Water Risk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8012D7-7FB8-C34E-F106-16C0EAF620E3}"/>
              </a:ext>
            </a:extLst>
          </p:cNvPr>
          <p:cNvSpPr txBox="1"/>
          <p:nvPr/>
        </p:nvSpPr>
        <p:spPr>
          <a:xfrm>
            <a:off x="6095999" y="1652456"/>
            <a:ext cx="5835163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en-GB" sz="1400">
                <a:solidFill>
                  <a:srgbClr val="0052D0"/>
                </a:solidFill>
              </a:rPr>
              <a:t>All global Third-Party Manufacturing and Franchise Bottling facilities are included in a Water Risk Assessment, conducted every 3 years</a:t>
            </a:r>
          </a:p>
          <a:p>
            <a:pPr marL="285750" indent="-2857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en-GB" sz="1400">
                <a:solidFill>
                  <a:srgbClr val="0052D0"/>
                </a:solidFill>
              </a:rPr>
              <a:t>Sites are prioritized based upon a rating derived from an average score calculated from</a:t>
            </a:r>
          </a:p>
          <a:p>
            <a:pPr marL="742950" lvl="1" indent="-2857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en-GB" sz="1400">
                <a:solidFill>
                  <a:srgbClr val="0052D0"/>
                </a:solidFill>
              </a:rPr>
              <a:t>Core WRI Aqueduct Indicators</a:t>
            </a:r>
          </a:p>
          <a:p>
            <a:pPr marL="742950" lvl="1" indent="-2857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en-GB" sz="1400">
                <a:solidFill>
                  <a:srgbClr val="0052D0"/>
                </a:solidFill>
              </a:rPr>
              <a:t>Consultant</a:t>
            </a:r>
            <a:r>
              <a:rPr lang="en-GB" sz="1400" baseline="30000">
                <a:solidFill>
                  <a:srgbClr val="0052D0"/>
                </a:solidFill>
              </a:rPr>
              <a:t>1</a:t>
            </a:r>
            <a:r>
              <a:rPr lang="en-GB" sz="1400">
                <a:solidFill>
                  <a:srgbClr val="0052D0"/>
                </a:solidFill>
              </a:rPr>
              <a:t> regional validation</a:t>
            </a:r>
          </a:p>
          <a:p>
            <a:pPr marL="285750" indent="-2857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en-GB" sz="1400">
                <a:solidFill>
                  <a:srgbClr val="0052D0"/>
                </a:solidFill>
              </a:rPr>
              <a:t>All ratings are based upon a 1 (Low) to 5 (High) scale with </a:t>
            </a:r>
            <a:r>
              <a:rPr lang="en-GB" sz="1400" b="1">
                <a:solidFill>
                  <a:srgbClr val="0052D0"/>
                </a:solidFill>
              </a:rPr>
              <a:t>&gt; 3.0 representing a moderate or higher business risk position</a:t>
            </a:r>
          </a:p>
          <a:p>
            <a:pPr marL="285750" indent="-2857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en-GB" sz="1400">
                <a:solidFill>
                  <a:srgbClr val="0052D0"/>
                </a:solidFill>
              </a:rPr>
              <a:t>Ratings were calculated for </a:t>
            </a:r>
            <a:r>
              <a:rPr lang="en-GB" sz="1400" b="1">
                <a:solidFill>
                  <a:srgbClr val="0052D0"/>
                </a:solidFill>
              </a:rPr>
              <a:t>Current and Future Trend </a:t>
            </a:r>
            <a:r>
              <a:rPr lang="en-GB" sz="1400">
                <a:solidFill>
                  <a:srgbClr val="0052D0"/>
                </a:solidFill>
              </a:rPr>
              <a:t>(3-5 Years) conditions</a:t>
            </a:r>
          </a:p>
          <a:p>
            <a:pPr marL="285750" indent="-2857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en-GB" sz="1400">
                <a:solidFill>
                  <a:srgbClr val="0052D0"/>
                </a:solidFill>
              </a:rPr>
              <a:t>Scores of 3.5 or greater result in High Water Risk categorization</a:t>
            </a:r>
          </a:p>
          <a:p>
            <a:endParaRPr lang="en-GB" sz="1400">
              <a:solidFill>
                <a:srgbClr val="0052D0"/>
              </a:solidFill>
            </a:endParaRPr>
          </a:p>
          <a:p>
            <a:endParaRPr lang="en-GB" sz="1400">
              <a:solidFill>
                <a:srgbClr val="0052D0"/>
              </a:solidFill>
            </a:endParaRPr>
          </a:p>
          <a:p>
            <a:r>
              <a:rPr lang="en-GB" sz="1400" baseline="30000">
                <a:solidFill>
                  <a:srgbClr val="0052D0"/>
                </a:solidFill>
              </a:rPr>
              <a:t>1</a:t>
            </a:r>
            <a:r>
              <a:rPr lang="en-GB" sz="1400">
                <a:solidFill>
                  <a:srgbClr val="0052D0"/>
                </a:solidFill>
              </a:rPr>
              <a:t> Consultant selected is a leading provider of water resource expertise </a:t>
            </a:r>
          </a:p>
          <a:p>
            <a:r>
              <a:rPr lang="en-GB" sz="1400">
                <a:solidFill>
                  <a:srgbClr val="0052D0"/>
                </a:solidFill>
              </a:rPr>
              <a:t>with extensive experience in the food and beverage sector</a:t>
            </a:r>
          </a:p>
        </p:txBody>
      </p:sp>
    </p:spTree>
    <p:extLst>
      <p:ext uri="{BB962C8B-B14F-4D97-AF65-F5344CB8AC3E}">
        <p14:creationId xmlns:p14="http://schemas.microsoft.com/office/powerpoint/2010/main" val="37787359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90xPQb_USP7oUueSgI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.sJQfJwkObKc0Qdnxf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pep+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C041"/>
      </a:accent1>
      <a:accent2>
        <a:srgbClr val="00A651"/>
      </a:accent2>
      <a:accent3>
        <a:srgbClr val="8EDB43"/>
      </a:accent3>
      <a:accent4>
        <a:srgbClr val="FFC62C"/>
      </a:accent4>
      <a:accent5>
        <a:srgbClr val="0065E5"/>
      </a:accent5>
      <a:accent6>
        <a:srgbClr val="4FE2F3"/>
      </a:accent6>
      <a:hlink>
        <a:srgbClr val="797979"/>
      </a:hlink>
      <a:folHlink>
        <a:srgbClr val="A9A9A9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9EC91132ADFE45B0E66798401BC50E" ma:contentTypeVersion="18" ma:contentTypeDescription="Create a new document." ma:contentTypeScope="" ma:versionID="8aab511cf751b7328419504d36f89a92">
  <xsd:schema xmlns:xsd="http://www.w3.org/2001/XMLSchema" xmlns:xs="http://www.w3.org/2001/XMLSchema" xmlns:p="http://schemas.microsoft.com/office/2006/metadata/properties" xmlns:ns2="dd60b2ae-bad4-4d1b-b416-c73d3851a7cb" xmlns:ns3="daf91340-3ccc-4aa5-923f-791d06611507" targetNamespace="http://schemas.microsoft.com/office/2006/metadata/properties" ma:root="true" ma:fieldsID="4c8cc525c13100ca373ce855af188e64" ns2:_="" ns3:_="">
    <xsd:import namespace="dd60b2ae-bad4-4d1b-b416-c73d3851a7cb"/>
    <xsd:import namespace="daf91340-3ccc-4aa5-923f-791d066115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60b2ae-bad4-4d1b-b416-c73d3851a7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9ae8bc6-2808-436b-8758-b62c6fb37c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Location" ma:index="25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f91340-3ccc-4aa5-923f-791d06611507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2034750-c476-44d1-b8d1-a449c3d13a8a}" ma:internalName="TaxCatchAll" ma:showField="CatchAllData" ma:web="daf91340-3ccc-4aa5-923f-791d066115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d60b2ae-bad4-4d1b-b416-c73d3851a7cb">
      <Terms xmlns="http://schemas.microsoft.com/office/infopath/2007/PartnerControls"/>
    </lcf76f155ced4ddcb4097134ff3c332f>
    <TaxCatchAll xmlns="daf91340-3ccc-4aa5-923f-791d0661150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C61C6F5-D25B-4C96-B73D-364C3AF63DEF}">
  <ds:schemaRefs>
    <ds:schemaRef ds:uri="daf91340-3ccc-4aa5-923f-791d06611507"/>
    <ds:schemaRef ds:uri="dd60b2ae-bad4-4d1b-b416-c73d3851a7c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41E575B-6797-441B-8FE9-7A4021B04289}">
  <ds:schemaRefs>
    <ds:schemaRef ds:uri="daf91340-3ccc-4aa5-923f-791d06611507"/>
    <ds:schemaRef ds:uri="dd60b2ae-bad4-4d1b-b416-c73d3851a7cb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74E5BBD-AEF0-4C2F-A104-78626B96E90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Application>Microsoft Office PowerPoint</Application>
  <PresentationFormat>Widescreen</PresentationFormat>
  <Slides>1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1_Office Theme</vt:lpstr>
      <vt:lpstr>Replenishment applies to Franchise Bottling and Third-Party Manufacturing plants considered to be high water ris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enishment applies to third-party manufacturing plants  considered to be high water risk</dc:title>
  <dc:creator>Hut, Erik {PEP}</dc:creator>
  <cp:revision>1</cp:revision>
  <dcterms:created xsi:type="dcterms:W3CDTF">2024-04-12T12:39:46Z</dcterms:created>
  <dcterms:modified xsi:type="dcterms:W3CDTF">2024-06-13T08:0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9EC91132ADFE45B0E66798401BC50E</vt:lpwstr>
  </property>
  <property fmtid="{D5CDD505-2E9C-101B-9397-08002B2CF9AE}" pid="3" name="MediaServiceImageTags">
    <vt:lpwstr/>
  </property>
</Properties>
</file>